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</p:sldMasterIdLst>
  <p:sldIdLst>
    <p:sldId id="297" r:id="rId5"/>
  </p:sldIdLst>
  <p:sldSz cx="9144000" cy="6858000" type="screen4x3"/>
  <p:notesSz cx="7010400" cy="9296400"/>
  <p:embeddedFontLst>
    <p:embeddedFont>
      <p:font typeface="Century Gothic" panose="020B0502020202020204" pitchFamily="34" charset="0"/>
      <p:regular r:id="rId6"/>
      <p:bold r:id="rId7"/>
      <p:italic r:id="rId8"/>
      <p:boldItalic r:id="rId9"/>
    </p:embeddedFont>
  </p:embeddedFontLst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0" userDrawn="1">
          <p15:clr>
            <a:srgbClr val="A4A3A4"/>
          </p15:clr>
        </p15:guide>
        <p15:guide id="2" pos="3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3" autoAdjust="0"/>
    <p:restoredTop sz="96370" autoAdjust="0"/>
  </p:normalViewPr>
  <p:slideViewPr>
    <p:cSldViewPr snapToGrid="0" snapToObjects="1">
      <p:cViewPr varScale="1">
        <p:scale>
          <a:sx n="98" d="100"/>
          <a:sy n="98" d="100"/>
        </p:scale>
        <p:origin x="84" y="1428"/>
      </p:cViewPr>
      <p:guideLst>
        <p:guide orient="horz" pos="3360"/>
        <p:guide pos="31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font" Target="fonts/font2.fntdata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font" Target="fonts/font1.fntdata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4.fntdata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Goldstein" userId="a1e1c818-97b6-46a8-809e-bbf816f2bb92" providerId="ADAL" clId="{596BBBFE-D088-45B4-AB22-AA7B3FA8F0E3}"/>
    <pc:docChg chg="undo custSel delSld modSld">
      <pc:chgData name="David Goldstein" userId="a1e1c818-97b6-46a8-809e-bbf816f2bb92" providerId="ADAL" clId="{596BBBFE-D088-45B4-AB22-AA7B3FA8F0E3}" dt="2021-04-27T21:08:55.684" v="483"/>
      <pc:docMkLst>
        <pc:docMk/>
      </pc:docMkLst>
      <pc:sldChg chg="addSp delSp modSp mod">
        <pc:chgData name="David Goldstein" userId="a1e1c818-97b6-46a8-809e-bbf816f2bb92" providerId="ADAL" clId="{596BBBFE-D088-45B4-AB22-AA7B3FA8F0E3}" dt="2021-04-27T21:08:55.684" v="483"/>
        <pc:sldMkLst>
          <pc:docMk/>
          <pc:sldMk cId="377281619" sldId="297"/>
        </pc:sldMkLst>
        <pc:spChg chg="mod">
          <ac:chgData name="David Goldstein" userId="a1e1c818-97b6-46a8-809e-bbf816f2bb92" providerId="ADAL" clId="{596BBBFE-D088-45B4-AB22-AA7B3FA8F0E3}" dt="2021-04-25T11:15:50.718" v="447" actId="20577"/>
          <ac:spMkLst>
            <pc:docMk/>
            <pc:sldMk cId="377281619" sldId="297"/>
            <ac:spMk id="2" creationId="{21024659-97CE-4DBC-8A90-274D9084DE32}"/>
          </ac:spMkLst>
        </pc:spChg>
        <pc:spChg chg="add mod topLvl">
          <ac:chgData name="David Goldstein" userId="a1e1c818-97b6-46a8-809e-bbf816f2bb92" providerId="ADAL" clId="{596BBBFE-D088-45B4-AB22-AA7B3FA8F0E3}" dt="2021-04-27T21:08:55.684" v="483"/>
          <ac:spMkLst>
            <pc:docMk/>
            <pc:sldMk cId="377281619" sldId="297"/>
            <ac:spMk id="3" creationId="{92CDFB7D-9A26-4923-AB39-1F8E2ADE67B2}"/>
          </ac:spMkLst>
        </pc:spChg>
        <pc:spChg chg="mod">
          <ac:chgData name="David Goldstein" userId="a1e1c818-97b6-46a8-809e-bbf816f2bb92" providerId="ADAL" clId="{596BBBFE-D088-45B4-AB22-AA7B3FA8F0E3}" dt="2021-04-24T21:41:19.193" v="429" actId="20577"/>
          <ac:spMkLst>
            <pc:docMk/>
            <pc:sldMk cId="377281619" sldId="297"/>
            <ac:spMk id="4" creationId="{7F0B1848-BF22-4DC8-93E4-49DC5E04E32D}"/>
          </ac:spMkLst>
        </pc:spChg>
        <pc:spChg chg="add mod topLvl">
          <ac:chgData name="David Goldstein" userId="a1e1c818-97b6-46a8-809e-bbf816f2bb92" providerId="ADAL" clId="{596BBBFE-D088-45B4-AB22-AA7B3FA8F0E3}" dt="2021-04-27T21:08:05.377" v="480"/>
          <ac:spMkLst>
            <pc:docMk/>
            <pc:sldMk cId="377281619" sldId="297"/>
            <ac:spMk id="5" creationId="{299C268D-D216-4031-8C75-F1366063961A}"/>
          </ac:spMkLst>
        </pc:spChg>
        <pc:spChg chg="add del mod">
          <ac:chgData name="David Goldstein" userId="a1e1c818-97b6-46a8-809e-bbf816f2bb92" providerId="ADAL" clId="{596BBBFE-D088-45B4-AB22-AA7B3FA8F0E3}" dt="2021-04-24T10:49:21.734" v="10"/>
          <ac:spMkLst>
            <pc:docMk/>
            <pc:sldMk cId="377281619" sldId="297"/>
            <ac:spMk id="7" creationId="{B455C6C5-47C3-43F0-B7C5-1CCEC8CFBB0B}"/>
          </ac:spMkLst>
        </pc:spChg>
        <pc:spChg chg="add del mod">
          <ac:chgData name="David Goldstein" userId="a1e1c818-97b6-46a8-809e-bbf816f2bb92" providerId="ADAL" clId="{596BBBFE-D088-45B4-AB22-AA7B3FA8F0E3}" dt="2021-04-24T10:49:28.695" v="23"/>
          <ac:spMkLst>
            <pc:docMk/>
            <pc:sldMk cId="377281619" sldId="297"/>
            <ac:spMk id="8" creationId="{F07D646A-67CF-47A5-BF6A-F77FEB65C14C}"/>
          </ac:spMkLst>
        </pc:spChg>
        <pc:spChg chg="del">
          <ac:chgData name="David Goldstein" userId="a1e1c818-97b6-46a8-809e-bbf816f2bb92" providerId="ADAL" clId="{596BBBFE-D088-45B4-AB22-AA7B3FA8F0E3}" dt="2021-04-24T10:49:26.437" v="14" actId="478"/>
          <ac:spMkLst>
            <pc:docMk/>
            <pc:sldMk cId="377281619" sldId="297"/>
            <ac:spMk id="9" creationId="{C994C99C-5151-4779-919C-84EB42DC99E8}"/>
          </ac:spMkLst>
        </pc:spChg>
        <pc:spChg chg="add del mod">
          <ac:chgData name="David Goldstein" userId="a1e1c818-97b6-46a8-809e-bbf816f2bb92" providerId="ADAL" clId="{596BBBFE-D088-45B4-AB22-AA7B3FA8F0E3}" dt="2021-04-27T21:06:05.319" v="470" actId="478"/>
          <ac:spMkLst>
            <pc:docMk/>
            <pc:sldMk cId="377281619" sldId="297"/>
            <ac:spMk id="10" creationId="{722104D8-6F34-4790-801B-CAF44F89683F}"/>
          </ac:spMkLst>
        </pc:spChg>
        <pc:spChg chg="add del mod">
          <ac:chgData name="David Goldstein" userId="a1e1c818-97b6-46a8-809e-bbf816f2bb92" providerId="ADAL" clId="{596BBBFE-D088-45B4-AB22-AA7B3FA8F0E3}" dt="2021-04-27T21:06:06.028" v="471" actId="478"/>
          <ac:spMkLst>
            <pc:docMk/>
            <pc:sldMk cId="377281619" sldId="297"/>
            <ac:spMk id="11" creationId="{9ED2EDD9-E367-4784-B3E8-3C5DF2E0AE61}"/>
          </ac:spMkLst>
        </pc:spChg>
        <pc:grpChg chg="add del mod">
          <ac:chgData name="David Goldstein" userId="a1e1c818-97b6-46a8-809e-bbf816f2bb92" providerId="ADAL" clId="{596BBBFE-D088-45B4-AB22-AA7B3FA8F0E3}" dt="2021-04-27T21:06:04.726" v="469" actId="164"/>
          <ac:grpSpMkLst>
            <pc:docMk/>
            <pc:sldMk cId="377281619" sldId="297"/>
            <ac:grpSpMk id="6" creationId="{4B8EF5E4-CD39-42FF-AB20-2BA9B8B56C49}"/>
          </ac:grpSpMkLst>
        </pc:grpChg>
      </pc:sldChg>
      <pc:sldChg chg="del">
        <pc:chgData name="David Goldstein" userId="a1e1c818-97b6-46a8-809e-bbf816f2bb92" providerId="ADAL" clId="{596BBBFE-D088-45B4-AB22-AA7B3FA8F0E3}" dt="2021-04-24T10:48:58.722" v="0" actId="47"/>
        <pc:sldMkLst>
          <pc:docMk/>
          <pc:sldMk cId="3825961751" sldId="298"/>
        </pc:sldMkLst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3" descr="6C5092EE">
            <a:extLst>
              <a:ext uri="{FF2B5EF4-FFF2-40B4-BE49-F238E27FC236}">
                <a16:creationId xmlns:a16="http://schemas.microsoft.com/office/drawing/2014/main" id="{76CE78DE-16C3-4CC1-AA6D-040D7E66CB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530" y="128016"/>
            <a:ext cx="1630070" cy="58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hyperlink" Target="https://www.idc.com/getdoc.jsp?containerId=prUS47423721" TargetMode="External"/><Relationship Id="rId4" Type="http://schemas.openxmlformats.org/officeDocument/2006/relationships/hyperlink" Target="https://www.mekkographics.com/tablet-shipments-rebound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8670"/>
            <a:ext cx="8229600" cy="990600"/>
          </a:xfrm>
        </p:spPr>
        <p:txBody>
          <a:bodyPr>
            <a:noAutofit/>
          </a:bodyPr>
          <a:lstStyle/>
          <a:p>
            <a:r>
              <a:rPr lang="en-US" dirty="0"/>
              <a:t>Tablet Shipments Reboun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104D8-6F34-4790-801B-CAF44F89683F}"/>
              </a:ext>
            </a:extLst>
          </p:cNvPr>
          <p:cNvSpPr txBox="1"/>
          <p:nvPr/>
        </p:nvSpPr>
        <p:spPr>
          <a:xfrm>
            <a:off x="6392917" y="6489709"/>
            <a:ext cx="2406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hlinkClick r:id="rId4"/>
              </a:rPr>
              <a:t>Learn how to make these charts</a:t>
            </a:r>
            <a:endParaRPr lang="en-US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D2EDD9-E367-4784-B3E8-3C5DF2E0AE61}"/>
              </a:ext>
            </a:extLst>
          </p:cNvPr>
          <p:cNvSpPr txBox="1"/>
          <p:nvPr/>
        </p:nvSpPr>
        <p:spPr>
          <a:xfrm>
            <a:off x="402970" y="6489709"/>
            <a:ext cx="60944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5"/>
              </a:rPr>
              <a:t>IDC</a:t>
            </a:r>
            <a:endParaRPr lang="en-US" sz="12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1215795"/>
            <a:ext cx="8229600" cy="685800"/>
          </a:xfrm>
        </p:spPr>
        <p:txBody>
          <a:bodyPr>
            <a:normAutofit fontScale="92500"/>
          </a:bodyPr>
          <a:lstStyle/>
          <a:p>
            <a:r>
              <a:rPr lang="en-US" dirty="0"/>
              <a:t>After 5 years of decline, the pandemic spurred a 14% increase in tablet shipments in 2020. Samsung and Lenovo benefited most, growing 44 and 64% respectively.</a:t>
            </a:r>
          </a:p>
        </p:txBody>
      </p:sp>
      <p:sp>
        <p:nvSpPr>
          <p:cNvPr id="3" name="Rectangle 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Q30RXwdXtvkH0USJ3+j215egEJEuk7gHZHGx82zPR3W9UzvHEntSXqqBpCsPUv5X4RlNaOOdFTF8P5Q7nrWIjGQIILdVMtJ4ci2EAq9itxBg31y9wrLvlsEVlK7l7K8JaEub7IQvzMAn1A72B10D86PS6+bsaiJkBL+NcVeiQJ0x/2vlSAO7/pbw7GMG2cMOPSfnS94WfeCnher6j3ruO1wE7Czl4e76/R5fGeko0wd/iMNMRy9mRAUwgPO7JcLR4lA+uGQzOdNFFpl7Eb7iagTH+5KiG5opLwxFczJZgK/yRAkAVaAfVloLX3pxTIhe+p79GhxUvbrWc7V9PSX6ysh2itQxU8ZCNapVUMzk5JAVpAjrC3lL+PX1gQsj5o+rs19pLOh4QC6k2ZCNtZlmuI8uIhxuLRwtCXxKPsjpCn/No6l3PXwqpBoIIAYVBxJexI6T5Ml3ArWPXchvRkp6zcV+S9kLEIsE/Uiy+oVe4cNqajvHM1dJr3ugcapNuVoCFth2SxKyGAHDTsxT/pvm+P4OB/39qyHVnRS/AUBbQUr82le5G5jl+LDCWJFT2mzZxABGkHiuI67tJCcAw4TYNZm5vjHT4uegerz9AjF1HXkJ7STa5TnJ+OPl/SqRjh8pv5Ij15cXpIuFjb4Gv2QOZU9HDPJpttoGHVuz0jPsza1JfSNN8QzHdAryOOnrs/R9nKGbCpJyvSlL/o3ymLdMFDq/BZ3XUjrVWr5OXJZmXxSphD4XCtoOQwtD161ICn9fDAPFzVvx6Nb9K9A8ns+zQ7TYbkUIefXpicQY4hCc4RDzuMV6uLIiScNjaG/ffoQR4g7QoTEviJ92TqIAAeRakWSscWMh34cHj53QvFtGUbJvf7hyvXxyxOVovZ3YWgQxAJ5f8zC1zKATnnmngIEdbZy9BxZPvX4qw5pYWG0AJPyAbdUYRqfoba+kFsAWIXLWsamW6BVJ/qROm+bj0z7RsrcphZwk+ECxpCwU8Y5qkgthfcvhnMnYBOrCJDZFSe5c1Vh3A8Z+59JCGDceWubJvf0ZIfi/fiMJN8EO3w+mP/bLvTob5RsKNjLkbOyjjQ+9XRED4sazctdC8LPeGBcGyfrAItbi9K+xj6IwZH0M1NN7kn5l99j/2Bjym5YxmspG+tPT2w5Mo8TvLb0+2krHQ0NcsMj+ijjwkVuuC1s35VRVapPPQO6wG6kjr19zxvizsnpe2GrSc55xOtZlYekeGPQWX0R5VCyZ7WdEC7NnWLZFzyRuVMmfua4BMvJCkmjJJmHBCXnYKyQbwMWNF397u/YSFxWXQFzOoSXSkwYsFKMMoeTEhjVa2EIGAjhT+OuP/H5MsD8oVGcVQ4riaZfo//qvB70t9C8L7BGAii7xssIV3shoNrZPogdAKJNm6UeQFXFaXIhGpPoA/aEaY7YhENpUCXX6L0PiYBZCeP5j7wFNoW9udPGSpLUb+c86mXjE3pd6s1B2roLKeCNFc+R8EwyQoEL6KX3g1ZzJuPAGP6S+RhLbKMGVdzhJlsydWjY9LaJvnO8+ycaj3Vu/AILxKkVlPexKMNYzgzP32zvWc4MC58L+ntQkPWAxw6du6zd07O2nOQb0EKJGTuI19HZofUXGEaH093p9UQaaHYaWp728WKkSvkXbryDjMbzWxCUoz01xoFg5k6sqoj5z7UoDx8l7Hpg8sgZ741dfjvNci3Jxs6p4qPMRr0ZqZipiP+J+JjwW6PxWuSXBuIvmjRJoVO+0XghrTHBef2VEBeCND1ss0sFaOlMlHcUZHv1UVHm9kM4ZSYi5LfjiQWmRMwsfHhybD/zCRj2bNAyNk382WZb/KDUYJqXx5/lMTUeGab+KnaSfOt1JZ/FSmIXT+vK6kFKB0kBQBMGh0VtIXyrWlGcZI3/TM+rpNmV9agqsukWCPZ2ydZaoSwUhvR5cMVU+EBhopTw1VJgTBsGEOiKPtXYA1KrTE33nxf1Afsx8F9o+kYdC7us8D4/2SPkdY74qWkownQtiz62zIjqRIrW7LDqvaM0jUvyWLljVQSei+pBp+8C93oqE9fvqemqZxrKXhqE1PT+5YaUydWP92nmdSYZ0pk5PuCjbx82DKC7/ud7RIbgwyJn3bb70Pvge+7A1a4652dUBbdfdmod7L2tS41ySg/XMlU+Q5AfzUGwkdGrLEjSy5Df6diGtXRta3i4JlwcP+B0/NJTbglcLAeey60tMbf115+aIIqNMzbGMrOeleJOQTqx0WnWzvTmjjwNJGX3LmqfoLsDtbWd2GhiWBa6+oXaDmazkJ8ZDnRc+6eKGF8t3tOm8Kbq5V2FcIibS8w+mXuJ+CDAj6FfLMn7+U4jKtaEGrW3g4z8kAqGx6hheFHNb38bHhtIBGyKmaIDfQ8RFgmoB4CQVFx9xxypVqmhnO9CEt7J0fqzrJhhDMJZ7FXHt/iynKybl8D7aoOpjpaxzLiTOdwLPZwfbAMaJ/4eZhExmHa9z/iPtgR7VVeRNp3JdyKhl/2D3yNa/0YSdaGQNH1e5fPGuv9F9ZFQ/GlrU2gnpp6WLsZkUwNKpQDWjulCeahYBmoLsKMgbpGb/zBgY7iSfQuq8VdAhwEDwjpc4ZOaUXCmo0vd1HHsxVxOHpF11QNGkVphGsYO18vXYPMl5fHnX+Idu5WW3iTt68Z09UN6sMmLASdFKyRQU41jkROd4n8qciHPo/BksNr8zjJFYeZzLSuKclqIW2NXmbZvI+/wWJi7gKnlSZ6zp1xbYcVd3RgaiTeC1BoP2WoidKBac+wYAS54Y143itlxq5FTH4/dv0tZcV54+nE7YHTMa73kf6X7Eh3ELAlYEzYmm1ncdepFu3Vk3O6g9HK0Bi811lAdeB5ThiI0z+DJwTGz+UYnFXxU88ITP9HX96q2RQk3tUZOLLY7fBEDyE4GwKD7b+OAkKqqnkOSQs8vaZ/1WdoOIIT6jgkI4QVcj3FdVseuQ67pHAxTkoukN71ohRpGbefQqxrH3xkmUkVkoKxSqtL9i2rDNX2PP6OmiNBKDKtcNFD/+bOpXJ0cknlhEpsijEUK/tJBY0bqdbJqhQQcggOdnJ2L+6i6WjJvF0ejSRyFLnmoX/HRY9VXFdxGHUGBSFRKizcGvFvT7LnI8EY96ZZqKbsBN+jPe882ZSyigRZ7J2MDnP1ViZMzuBn0PmjsG+08kKFUK2CvVaZ/qMF84DlPmWoyXJQguL5PdrMhQHaz7aQqtV5b3S0Lt17YMFcqjB8e7Dne4ZtjjpTP/7hmkvJ296qPpp0+2/12I21d5dd4lg4HEEMM9rRC5oqtjtC2PYtp5lITSSEJLBuW5nx+HXRwV3D2qvT9k+yWX2oVrUaOGiMRCVcSpDXioXuU4UdZAisu5Z+IkJ/8aB69Ez1GzVaKBf4ZKa9cp7FmiV0K/jSproTQCYqq0DO3yv9PNDr4ksPVDl0oEoPsCKlbYAW1Jum9CU+r5ss9BXIGMRUzkWtmzg0TJNf1IBS+wdn8B5u3uQWqX/3v5U2GasPB6KqHSCmK1MoNwLuO4ZHzrV/DyYwbm608Ew1zErKgCHHHNuA4w5uPYCqhb04ZWstWvEFkjMOByqP2c1YuS+HF15CTIiRI/6SseMPEsAt4UXXGzZJ2hQNVnqcCY6HEeU2QMPPj6GNLTZv/tUQN/jJxVQe3QmgZ1Ey6Lg/BW5TGy9qXcw+RfuG4ah1BlBbMgt2I6f06NfmzgGB8zac79Ds2ZkXrYASTySREDUrsYwCWjol32MTNIp7IwxXs8gBKEYt7/ZZ8PEprtSaS144wLOq0DdT8GYQ1SaK7nVFQ9knnKxszQIW8Hfosfw4AxG0WGpoZld5fmJ9FitVNS6FB3QJQVwesW1o3cse8aNhQaJe4zSoQHLOa2qx5ww6qBFVLegaAm9GoHWY0fsY9ftpL9ekwovehjArxDJWB/QxH3aDJ4orHik8ypiQ2Hv8U2I+XwGS7aHtLFD77EiCvaRf9ZysnWWLsV+FbKzDiOTWGDj+WDs8Y20MZURUC2ZcAQZxmEXDOVkRJAvyTm3xVusMd2bkALkLRIIhUkhKrEgKPL6jO8um0drEB80Fo1GvrzsDXETYeoO6HoKkEV0fWroWDzCL86R+rtve/yo00TBrScbdYNn0vzMFSc66Dwkp7KXVJlLrAjXr9rVO2MpHFx77BjYwtOazvxcRmz1EtOE2hEZLjqIv3zcwZ0OmQor67NlBlmoqmkldifJu5RLtOq9Fot6UiCxWKjHcInoKHU9nDoMeQ2ZS5sKler5JJPKPOcCpbv5kQEOdLjcLBt+6lNig2OFiw3sujA3vnwhv3ZOOk//4E3ql6QLMj5JXlXcgTfJyjmP/m3hIsmk96dDV3DqvD+4y7MvAwsNY1yzA0fJNkeQYu56SLZDFgai65Ocs+BHA2tchVC98OiwUH9wGjfYqSTkplx11cSbejj3AhaCZfDinSnyDGr0qvhaMK+x5cJs52zPMTHOUW9Vt4GO90+cMf0+PWesnY9E0xrysRKRDaMGXZDl8OQ1aeWok7u0PK51+O1WtktzSGSXIs9ZwB1DUIHEO/FXPNdVHlzNoB92b/QWa/ZOS/ISMXAROh3W4HpuQhB3BPotLhEsF9qDijEAPpQjJqg/UR6Ouca67yIUc5OcN0jjKiVMrV33O45k65dnZ4J+lHwUsxhe0iAJgi3zvOTo4YB0W9y0jbUAHNRpX/75cVvbLcGhvAiQvS9P45AUo1lXYiu0Fp2j7hrKdstMt9ir++JLw57ERHzx0wPv9fo9b3X7spF8HpVUthz5AptbV6CB1oaTadnnFBa2eAeerKnp5UTzshAgFQajtAYRsUwqo54kdkpPpljIBc1J4GYzKrVReeykBMx6DFwHii3FWc+8XwSh9NQEsxSx2JQ7tfMpBA3VdGZfyalBQSvKGiyw78PFaUvmuTHPOy07e9gb4YCuvqQGarmuqeFHSy0ww6KwXHCRuCibVGO1V/A/HPVrmlPhD5K4UQ99V6wGKOZi84uaiOfqR+lSA4zSZREHh2FKrYGDh0+4EYPqT8MnPGe8UeuvF27Ldb5+tiqEaLaO+jkwq0MOi30cF1k2GuyZ+F9LyO+AOexpS36Ld1c3Sm54aGaXiAcytq/caUBiXjBTMnZQX1cTIXYfl0a5TV+o3kbnUA60Ttg3CsHdjiIVECO0qfgGVSHzWiW6h5M8EPbsKCwJ0MJC943M6U+omIGwIxBr1uHLH3kvutjfl9i8bSFhn1JqNxkKIP3NgakiILYCWNvB0mNEFUYUtW2gwELmQ2La5zPpEc0lIqiaWIzBx/nMC8C5umWbLk+nK7xI/UnXxeEWKXBTr/meug/VKHFUxD/YoEn304qw/j0h9RZIF+FcDCAexp8YR6wJ/lS6EUNxiFdE1Z+UDgi8bl+xJRFi0FsuiDZWqzm8KNzbyJWU6y/aGYwSTJPb/DnjVOclQ5VRKEFhREjSrPxg7CSuqPXTCbcK6xWJ9Djh4hHt5d/xeFNJJA0gObzsdJEWX605E+NjbNhlwZUmk1fKo3DK4StODJtNtiAC/4YEDgXgd0DUI/H/G8hvhwGsK95GTryDMaQUwVjo3f1o5/zmlZk2AHssWmCSUt8XcYTsczgrA53VByAOusbS/EpvtQxy1dDwZeUSML5EwL9JUNFaht65X3dpo1KiaLYdEni9cqw3CGYPVY98Kleay6zZK93c5FWtcy+UzWE1W13P3FlmLRDtHuoqQZAA7xC+HJqvYim6iW0KMz/WYwGY9k9aS7NRhcpXPdK8I3EMEtosMJ34+8hNTv1cARR/CkDpydz+FPAa7rAkLReIuGvkH/GF6p8SDHHAEjMbO/+kJaFOr1AZhshZnD4U7ml2fcO1v/KIF7vabdjCLK+lxzRavGa3RPlOBx/oB4egnB4OE7cvsy5ZAAp6ZABwyzjpK/bAQetinpum1Uqoki/0P3CdJ2i2+TKPwPo9o5AcfVPl7eoJAzNBGyptYGjYe3yGp/UAYhBAvN4jNlFzDkTpe2ULQQQp1by1/R8gN/pCaaubFvkU9FyFwD1sNbueuYipZWwBQLpkaQLdhepPIjqC9NQbaRQxq22BwNtYbkX5stkhNbW/y/0721SNN+5qBwiOhAHfZb8EmcXwvyKj15Jsxo73KZ1JICSSl7I6DRMJ1cag3pUnsmX/gU8auzomjjHCflLfA8AQ6V5oAJRcj1TCPuY6daFwL7CJUOJnuwgJY9xsHlO8z27WITE8lACNO62k/rtvIlXR5LX4c2D0SVmU//ccwf9B8Whu0MfA/L9woVuksioxp0PRyIzDIcz8YrMXMO2AodIMHKuVaiem9o8go+s6xC4v+kXhfqDMsanLn/p3vWDFltCOPljHaG++2TS+Uz8KtaY65Ts+3TSJdP1bRw2EpQOmu5uJFZbuDB+km41vmxUsJJ6Ik3pFm1LvaHrURBPFnm98u/+fTBvo3wwml7U48eCfuQUnomqOgiDwqfxwdiMRcb9sgXAltQhWglM8pYXVqURHJM4hE+cScQY965ToOe2o3R5iuRao7eyCdt+CXTXUGYuhHfx20KM7GEyuxPL6pio7DFewnIQ3eE3PhLS+Q5EI7VQ+tLFMWRcfBfT3SpnrnszNzWofiPl+pUfN7EH8+/0ZZKLIIWcsadyWuzEDnsA7APDheR72ZqFajEmqpf+ZECZsfBpON57PpgcYaqa+pkInj5tpX4NGRSNqFyRWu4BTaZyer2gAHj3CPqu9S/wIG2RDJfzzMModfalEVVnjM9gyTbk5P4q1bv7LYcKRphf/0Ck/5/qx76HhSnrc8W7BTq/tcYWAnjqPWfnZOzJ/WUzJyoXrZm+3MOvM74ehliXAhV1S9JNcP0agdUIJLB/iSiXyki7ASmxuYfV4MjSB/EmKYYaxgzui1Ytvu5mO0ee9j0yp+n/+OyARyW1awDaypXje/RC1dwmnRePPRelDYqvUDBLoKEyk/RPyTHsGu7wwSeNrYFJBJ5niKMh7NZF1++goI0C87mP0fLHXxY3wFPd1lDjTeAmMn3twNo/kY8at/ewT2OY0wxEHJYwS6PZ1Zg5zJVgfZO2uWrKcW/VilA5JBvzEkFA48DOcX7c9mbsLI/sFxu5w5k/9dHuRSsnmHQOZCBoLc5cPlJzaaYd2L6mKsQjQO2zdav95j4yLynLSqXMIj4HPfoO1KDGM/BCUDPDCQY36p5GoSJ6AeLJtSh/zxStbDD+GbuhKXGkr/4CEjnMtDaxO1sC0Vja7XhKHmFrbrMC77hvRgFVgWM8Q6r0TwkMTFhaIcykjPq+rB5yItHwppWGSWexAKmCdq4PoSD6SWzUpBRBYjM9WPlCRQsdalyibv2mKipbt1zpkSOGD94QDmhs1uOoa6lyQ6hasUu9GzvxEFeQuO1ALC08CGZs8KXM9EH/Y5YN6TgRLznZHY0lvqzVX4Y/prAwOFB8SC+nDmnoGGAIWJAyPk+6XFVzXVnL2rXw7eCdFnp7au5jHw03ErLSjxyucB4flvoTgLaJIuuMIHv7yFoCr6L+kdo9WxZKI0X+nP54qJG1r8VDz6dPgayM2RmNXFUxsO6BYbj/XHIWEuUmSbeh/vISV0I3zpQkk5tmRjh2eqiAbXxkvaIxF+I/lIvv0QQtSDi6zZpcObmv5LbQMHn37zF5+AsSwOb+GKtzeTDprCOTxtJXKtE5qeBoK1QOkViKx7BhV+ukObDi92f5oNxfsv59m7KXestSyOzVb15oZ8ZJGNHpTeLuFcWbJ4qvv5u7E5bO/LUlrxadg2JVt2TOsGxhyp0Fp3WuzLXaciZl105NqRReu9586PbJ5XOVTRy2A0u//1qmr1oV8EVYwRoCsDMpG+EZRawKbbhppYRWI6JgnC+sdkXxCV8ifM20+InnNp0OLCC87vf7qb+OAuopWK5Zng6o1dK/DcZCe+Kn3wZmFHaahI4nRcxij/VyGantoJIktgSsaW0L/EGHILK8n8Xad+H0f5C3AkWgKZrv1mmE2wOGe5B8erAjN8U40S9N/h/EjE+fc9EPK4D+ty30/DBdTHHeQ7P0zK5Au3A8CROVWe8U5Bi5dqNDZjY9iilbTwMizla7YHeI4sUmFu3Y0bbJZmg1Q4rA1b9WvP0Z8Rg7cqmyfQ3gULxRd+cZcm+LusaCzuy0F3ymCh4mW+54EOnOAJmnyGdX08R+xO9KH9V/2lXXZDA/mXieXlRplEqKRUJtHLrtIjUMcQH/tN/AH1Lf1UVp8Z2ddXIDnCzgaQunfvdWed3m1ylbh5HhcZF9gXwkt7m8GCZwsuoBOwgcLygPewvv/pBSnv/V9KnGbFPWsTA3LtmpubKDGuNTCnWpmScr+ZZskMyJpVY99fJhJ/HCvPiz3w0Sq4Nl1VB01phxeMCj/bMLddwu/Edqvyij8bgVrkAEQK3RG627lJO1H49zel+Fv80KZLENSvU3ivq2daxu1DcwrvtC1g8MnaKejJgUyQgyNnMCp/SNUoBoiBJatKN27NjeEXJMlQA9rP7UlMIDjZDjqUBdQnCAznsVMcW+nYRH7WUXnbHh0Fnl5GNH5jsXLrgsLmdS2RzQ/+FqQw9Tt6HlFyPy5zvHc1zpsvWoxaOu6a1s1+306b/aa8kU5XDQPAIXyGtKws0k+7+23aHzrZ2CdM1bj9AKHNsYMQIzGPhlP2+DBuSJMbTnFGN4psRoTJudqfQsyle/t1zFx6CCtPinBw/8kWl5YUordLReOufkfscRBunp/9T6QWRbM43Zrikl4Mz2GEaIoiTHTWReDsZQjK3NSawhNIfw/OM9Q0YW1clJoDGSL9ihh1+5+yHsBoJwDxb26WJPqvAyeYg1HwurmXhr70V+lQFB0mZ3gaz2EiJh+u9Dkb6UMfNoYjZV+Vp3G5eORK/HNeklzuKBx6alozZF+Cjk5MHtIzJOLQh3CHoJzg/uY/oNLFFGSAYbA6MTnvJuck0vEkgpn+JuYSnI59ZX9PLXB2QZUxsshiFwglPvBCUz3h5oTp0kwCFkJbyri0uWwiqdw0BV+4Hhcta5M7wVZmTN6w9+nnjzskzJAQebq91jJc/nuyQ5HgZ2Fp7H7pIwIkUrNU/t6TMKPYIo88vgyfklBuDeexBwGizHgjgE55jDCX4OQSbHmjMHQF8MvzSkOeLsc1mXSEhKV5OAN10z8TJvEZwV6f2knjejEppIc44IUtCcqA++iCSLjapPPiElnRv4pYoJ+XeQYf5JZOEE6S5J1ljX6Z/mRP9RdwH5B8eRve1AI8gAAYq1B0YbIY2vfTa5M4O1iE0KeZepVLLDW2IHXCGtCRUDQQWLAGd9dd/DzKltnQQHKZs6CkeFjgok9rz/qx7aeAbJ2dSM7S1LjsfBKjQW0Re8s7z0q1Tjzrmoboh8fTsE5X0T4TOvEMvw6IJxnN8MHZF6fZYU7jyQTXMtVicOdJ0pE1fknb6unkTUY/U7JJa5YmDn7UM1Tdi54ILwVvrYHkQ10k59fqxIW2d/y6s7q3t5x/iS0zcGUZJ990O2ziAx24K6rmqB83RfP7AsnYAQgDSlJrTssVN5IjTcNnhv6YqcK1D4eY57zAAWORHTdbRNsjC/6VVJbFVcqoaEDT/Spax3VxTEjres3Vp7EX5iX7tdDQP6noJ8we3eV8OF76uxMlrJzq65wribeli7M4WeteOaQjDDrurp+3QtFZ1MliujU/HsYpkxvzqhJNA1Coq5N2LNOvnQEDqX+AF+gN5SM+NEMkdVoHZ7HevOnVIJY+JMDObDIxrR5jecNg9z1U3ZT7g9bH3jS+aZd3hs8DI3q+l+jDcKyAwVyG8WV1GujC57tFQxwcwgB4aapjdQFV8uV1nPEj0mLFz8wGXsxyUke1lPttFULdnZpm6wdH4XfN/ALNDR43RGAy3VYaShPQI4ZCe0BlRWEgfbXmjdd+1ronno33WoGYynTtu/nNOerpfvNUoaXBOzT3Oogbru67/ucqpP8PnFxEXLGW6NFMl1pHvFj6yBXHOaNDS5i9RQBaSUJ5/iXZhtllkUTLCPxvA4SNZfL+i8qx91Xpy5gDjfnaOxgD9ULVcDHfe6EJOmuZ3/PdTXxCMM9OhYeQcCNtLCT2+Zaf67G18X0gp1gJREcG5kCMu13E2PiJ60X5l9gkxU3VXvtGUZpwq5BpgIrNnKhXaJWM8t+bTtbs2hPTCF0+0nvoQKfJ7RQlzmHlPYjQhh5uyCGSmF2o+PinVdYTXyJxCqFLN9Ab4DgG5uhY3xdn4Lm3REyIInGKhJtPs8OXRxhTG/xx645wkNpL0IDocYyWVOGYq+LVU2TpgaPQaUzYQSChOmNk4ZxEI1vWQjarJ+wJ3SZwhbouUiOGnkN4Wwpdm3s+CXjyLg08y1MTIDenyUTsDlieM7OAN9eZdbz8wO1SZO8k+m9ESbco2zsaHp+i8gqm41kCT7o6sBJEFC4stCVLepX4A78qoa9zlSgnx5cVVx6MLzrIGtSyBbrCAawRRfiykGg3U2QB8gygqM0YyGWO7QQ+7Lc6ZZbojLm7pUyclhWsGy1mnK7dS1B0LYLr7Lb1TOcRAT76CWrrLy8op597lDtrnSx7wUihFFqBJJ88P+5reOnzKgGhA5TbPDVIbhqxuRMsOG7p400O17oCEUG0l3fe8IH2A8AxwEGWCauzpFzylb5QKvedxxe0qNEJKSSKfOZjS/7tdOGG/EVE7DyGvLsmqdC3n+QDgR7srvZi6NBtxauC30/6D7jnT4Pyu5KSneBp24RBL99pICD51moQ+UM+kkw91Tn9uHoDR9bkbqCuqoBN3YPQnqcIUQgsR5FwqfzeXbF97HT8FeRreyiF1BBB1N5/+LwxbULLhQ7b6kQQUgHnF3AI8ICl0J9mNbHjRhaRqPlT34rr0qdFtyux0WJgJ1GoBc6riKHfUWrAx14XSLLEkoSyHnFtE1zmj5CbMv0gLrlRn3/5AVubYEC+P3c+w2+rI4jt1nHX/fcngHjGEUM1uGXgIYHF2FLJWJD6wrOKHobOanfmDUx0uqmkpij/QavDRBxUQTU6lL5IDUiroUZhS++aZdg7m3GdQR5Qo457yaILThs4e1oor4on3hUCc4QsyYI6w5whxNlIWJkVttvTT+b9wRXocVSHM+kKzBZpUdTcMDMS7xPcHXp4CKMT1FUrgG9LX7RnKzksGsNhMbNq/V9rONOl6ARRh5WnikNmGvtLXwt4HS9+GaGryPquDMPCgvErOGO45ZPEBswUu81g06/5A0izakDXGJJQlJE7WVsfMzD7EI6dbeOEdRc8XuDnxD6TJ53ZKqXqRl3HiBjmVUV/dZ5K1ZJSDE9oucr3eicAzSSBU/VUoAPWSBRqeEcu3Ki7ARRTmFQduJQbVym5u9ro6iiyUTT6A9VHytMQocibA999hu6YgBlmlLObkQuxC2Ry+u1mDWAYAbRbU7wcHl9bEL4tjvdnz5VFuUcYEi7XVA4rd6PrNG3lpgEvDC8NYGkHngordWDfzFGdrqoYWXLo0jIagwdpKsUhVRtb91ZPvF8wSSFAe7CkTKQDFtSeKDIdDWenAZS7bWWM/Ii7wdJztKInj88RZpb7mCa0ZaOaPCOliK107iZnm6vUsGpUNNzha/9Gk4NtqUSmDZCSh4b35MlwA7JCzN4H+1etholf0DINV4R5W8DUhqGG+6EF9HNGD6VIACKuMLNs84HJ2FqWsOrYsQCttjeemLnDXGzsOePlR6TQfIimu5d8rtD3hcYCtHdVNWgj82PjBDT1I66ydQjfWKKB4og0jV33Y2gtsZILBfxnrsS71L/1fqcGNPst+dbo4tMoJ7a0TGi3w+hnY9HPsRC7d453ahfC0HIKlgYZV5R9hNYQquvKXOwewLtbGstfW1lq/Ut5GDH4uaqaxLo7UUW2DltC/7+/YDaALr941VoMYFG/ivkgkkVQj+z/M+m7AdEcsYU7arj58AoUhjWKPGx2hl6kBvigpM8fCFWobvCZzVFscpRWjtiXO54h3pYvCixltuXo7bkm7vos2ENR9AP5zPPZFeDG8GEMMnYII3wTwfJeKrSyELG9zkWma2bU5jW2z2np4GOPLij7WGj941H2FDt2ubBtbrfIBVXJv3ReqBYozKPQZ77OJorOIfeyXFgLDi0//73sT5D94R/W11cjZ38jvXZ6iYI5RINWDAFNzzMbQGjrL6zomEu9xebV7vU6745F9+QxYKZ4z4GQUAuJ3EqWzrUjpk295lmkYZbkk1IN8avCdzfK9Fdhc2oYvhqvftU+KdKvACzWaqhypj5AgYVOhEYknwYGs83rpu4kkQKgTeYHzMjR8RK4yEEFGc2QjKTyUECbIC2DNb5UeQWx87ba2Vzfb44ZWhg3kJVNPBLmqPKI4N1VsAzsqPYWd8v8ywavojMFn6fsPGNpZ+17ZMCMmkB2IDvIRcvkBagwKo6UoOHiGVMLYVRVs8joKbhJ9jKV+wN+qhCYQjH5QA+qTV2WJMjO5++YpV3vIijEG7IXEz3m8bjWv2oigso00FOeUsQsFALlUAY3+OhgDDiH29W6XT4d/LnrcApF8LP5ql+GXU6acqN5CY2woltHUW1SJ9UMsQFjEq0o14mKan3+fhS6fTzYKFzWl5uuevnGavVRxbCMojD/LHlRKeJG5ZNxwxShl3Wwyb6xkF3ToCDoWIEXeGG0f86t6BAa2oW1EiDVxrlQnkcuyh/C6gxLhja+EZo+SOr/AubVOHAv+EaKXpJewk/Bxon4BX6ypBOHcazPSwZcLzwRs1pUvfsBmNNbA/uPi1hR+aUumMlo2oCfdSISEWOhCfiSwKS321JpTOFVo6figy5Q2XxFIlXMfXidgKJJOgTOPWE9ylsncJUD7Rqt9DUnSXp9SuHvy53xysz9c3shWFaAcsFZCGap8AkEenJv6uP4+yJj84b9hjM6wioQJDtas0k4O/p965vc/Nei2hPaxAHRDlAW/jcZWjnGhP4D0ETjcLxzJ7PlxtKEr38rXewpmvs0tLGPTyDoeXImpKfViBnJ84nSlwqL1SKSajV/3wjbsTbhyMWANFXbiRlOMndK5ihOxnIiFEpTXFeWJbZSBZXHikjBYmCeMqt++OEWGtkF3RE2USfQPNnPBh0L2EqfywyOhMNrZPNfdFf23jD8o5DHZg6ScMhbgpcZsFXoO6YXSS5CE7BAlAXOIaMaiF+GD1EPvisvPUFTyOjPj0Jj+yg1aDFiONDHx6ulE4rQbOceMKCrjPkab09uDKg1MkzhxCg948tQYCpF49HqaYD7oJzCTTkvmW7GfwZo3cPXZEoevu8RYyMe2wN92FQMYgwEE0ehoskeIcee2Zm3+8XZlI5FozfEnCerp3g7bHVyKcWFm7cRoZ2RwKhcHVJ+6G5xcsB/wBjGvBfk8rQzr+gChMsOTFEbNhKbyVlrWYhrLhK+y/yDwdDqPSyg91wvzZVBscek0cMmC6D8xH4Tj/4mHx/Do69tzWp9Hrb7UH1gUFH6fkjsDi2oB0a9NHQbTKoG5zOaQwthUGLcDPd/fhduONrimdRmove5t/NLgzjLd9q8Juunnd+YLwg2Z87rsusia5BDaZ2MmNkx4fidUg1rgsyXgg6XCTT498bX0l1KvU1fs/QbySSwnoxrGU2vCVN8PzSDp5EgyQAe1yJ61sJxFb0NPY2Js5wOg6Ao3U9+8JAWP+leEwJBXznDzpP2bamXJT1xfpD2QuOQZwdk+ZSgyR6Hul7fTfuWEmc8G+7G8clfmqAelxIt5GhrsjvdtPa99IPejuO2txtbdwqcvsqqdSSEByKg4BmHooHnvSB8rohOb5xHNFCfIY7wiubw7cHRU9OukcoM7QZWsha1XogrsWXvNrEjqcwmEEsXcLm3FNnIEVO7lconxDCiBCJRGGH1riNRUeBKB0nDki5JpNwPG90OsdoAuzzvWX/gE20qBLtn4Z4Z1eAGYP/O0ktuX+UPfS6pNHrPIqwQYx5lj9jHi+Qol4dspuLCdE8TBWHg6J3gVZlDQxieLgiG8bvKi+n6QTpJUG+h3NBXjMALY06L2EgjPpL8MkT5k6u7FNYskoF2Z7lsIkyKTgiqLPznOB+Zk26pwdeVG5FMSPhOc6VWBBaW+WpymUfVBI57G6NtgfODSl2HQ+E0a3k7Xk8vc6ya+/X8MFi3bAmj+KtTtj4ZZgLvGt9rtYnS3cXKSjGf23zKxUM29RLV1U9s7XAiAOhO5KLcXetAL6S5fMldySO1lbKepWAI4CPwJ4hyCQATtr5pcWN0cISrA+cN600p7hSVvLtxkr3zbHwmrwCmAO5lS6L4nEDvcutJ+CzsKy7mKVfXRyS9Khh2xMV0CDccANz/O4KNPeKEiPwz78Rzp637CgR/86fov+Y14V3RGBcirQGCsDC+gFdrw/OXBCOhu/Za3HY2I27jyrlDyXDxldPcj6PL2YO+0qU+bsTYVWfqE+JVK5S4wWRijKLEdBTaWOSp5E6A40Hke4BEP9SEoxPdUievRGoLasdBOTMDJ3KleCZtbj7p7WjAl8CnbwHfWGXuQfz9K+EdtLjvQqYpvCbhXR1no3z+VLiT1KK4dRdlYSP/JG/aRC2zxqax0ugsmDvlw3t/cWzZz7/Jr2DqZ7DtN2jDSY0MRoan+bNfICwTmmU4HzoTATigRr9JaAzBbfHdKJ8gH5cczFLn1/sPzMm/Sz+zzU1sbg1MdeI9V8lq8atM3AplE2BQRGYXD0JLdt82zp2mW+uX9NFMIyTIuc6QtYV3kMKkXoLKPpfAmWhb5NHEk+XaCWHXydH0WqOUvUixkf8siaI1iXX7qUaGkxMt0qimZSAlBpd9zqfos1E0pWS8SamCg0l2Z08OKmiOqNGmEoqGs9ben4964xcCx3jreRsCk+ljADxo2HanWLPAcIzfy8FRdK6Qfagy6hVqA3f0N5YHWT4tajOBTPRvGnGXTKgV5ZNG12JRHb9pOx+bnw5QKR19YLUcz63DddBKc+BsI72ANf2Z+165+lJC3FMBodKQU8MtdlafR8UyQhfK3DhYZ2rIW6ebbT3hj0Go21aRa1MFZRnA2Lzayp4MTFCxVzECTRDESaLf/zJuTD2vRuDEW/KljtDEVkXSsqaowu8ig/vEEDNln+7DxvTtRIe0QUppDHUpIWip5WGJwakoSTeYv9yMTnqGP5/JcsF3On3O2FWP+JqWDaMbHFobDy55cWGYQbwyCsNLG+s7uivnVDUsyCJk1xbrYuBF7HN/A41SPz9htjdGrbnTC7GMXJhAwfUI/LONDkHkw0Ew8H/J4dGugLZK+iDTzKoUUPmdbG5Nq/xvK1I8rZwnBzGKVp7zihXh7M9DfF+c7EiuoGm/B/IZHeWFUGucSbgYxmtTbw+if8vIY4rhs43unp388TYaZ4vSdz6whclgFR5s6FYNxefipvOjdxB2KSzv4Zkq1SdjsjuRcwH1MfdL6sLe0aF0GQc+WBwLHnDX4b0FMHxQD4ZgZXb/8l9ti0/M9E1hb3usZET1oN6qkLtfW6Gy3c5vBONYatsYpoG8jg7CSXfYwtqXIeVkrHFMAbemJw8JDYEmMJrauInjz+qe5KneOYvArB2q7/rHSKzDGwJhZLAE/bEj8xMSyz5McQWOo7E+X+6Dku1NOti1Uk+rId6/c+1LX5BuRFy8v/GjbEfEEhyIKAljlfixUGK2oGg1wIKSzBS6cPHdWbv2PkUWPL8wpUl2K+eWodZABNCidZ+uV25t11HoToOqFgNvslhFIQIzLfa3IyO/HD/QkivU9JI0su9JMSnVClEdFaSlYPG5qNT9VsDAWFh5Mrojw6xeUJ6+s9Ghm0uFmIt9CG1CoogLivp3qkOnjMYAE3ZSlG9Vi86Qa0MQ0P2v1PkU9WksGaaCuUKKxM6YCV17eLkB3wPeDd0+lLJKRyJ082LsoOxWaiYGn04OD/kP3+ulgqqqjRmoQ1yaMTNDksG+kr2fGbBBhIoPq1sIpkJJVFiWgUJGXQW9zZhsfTSMMe44FPYqaLkrv+KLBQK0t/8i9cyh3A3OVUC6S/8FS8YDDqn7Oqxx+AFkRVuKsbtQKrF7tfsDhJLBHghtJ5kOS3Tp36xVYk/CB92TJ4F/SsxvQgZLI49HpEw9OJJiReWRJBsQmt+syx6UNl8EbYnJiCTLTajJbteG1cAPDmaPE9OOD8Ha3GdxiiwbPbbGVvmBB6HzDmf5YdMadnHbLKHiMQPEtKdNAklDA0wTcdu6PzRuURWfGsGKb2sdYY2kPQe6RjF63x/CUN4hyIkLdBjzbPqs6pn9EpGJS/tv3pBX1ZBVfdZuMsknGm6VLl6kJwUs4mR8UTr4OlzlYcvB0dTod3Nm+wDTFxV7Cd9qpFoxRh+f6jxHHTep8ny1eEFkhytYI2PIGF97FIyiltT+mCAxdmfW95Hr+xz56wM0ydcgRwYUNdrNwsyHVESMsiV59oBrCnwfYjdQ8sNhvrJLIDHxrRmx//PBBzgGzv1ncxZFueNg9Iodg3q42APfUt4p/d5Cdc5F43V6tlCI+fAE22Oqc0mkO1YlKhfE96DXU4vKfCgMvKkDbjvoc6krxe3UGtZ+vvNgiB6lM7k+0eguoqZZpY/wSJRlBm4Y1/A3MLMYqVw48MV3lIzoGW1b7rO3hk7E6peg1RdL8FfIr4qsiB0tHrzO0epRaYyrkhxPwO7xUx6efZd+SIkWbJVHc+pU3j6LwgGmlm0tIAe43WMOck8x8LLtgVoDaKqZijzI2JtFDa1nwxKMek8QWiSndm5ovSL0QFykQLXnoGwwlVcPFWwkuI7G+rfYCd71GIT7QGXpelWEO2X50ODKssXO2KtuqEgzK3U2FNMt5ZrGNamDVH5MZmRWrdII5pJzx3SJ2Wlnew1OXqWKgjNZRUBEjM1pAWpTAbSnYuaBCYrxASuXT9j/AeYdldx01vDo9OdVLJtl9fU2hy99f8foC1ms44bG7cwhcbO/eHQBhUPhbaCoCmnQVhzwGExn0SVWM8D4lab6wFyqRvdh/MCLT51V7YyUheHhWghzvxb5+WD7H3iko8gxiXbBI2ySeqQCmMb8RYctnPg5KPBoIgX31b+ocxZIGa5o6PUJmHS7lVzAOf5TVId4bhM6amqbfp6BsLOzx3PPI5bt8ZlnHoZYMNkSlhsGx6Y3GqZo8uvLwjYxdYPQLboom2ffjvPVs7t3FRTHxg49SctDbjliDBKfOgDoH6aAjSJAeJS3tnsU8BvewTGsgUuewVMEOoXLTajtrrzCT6HlnGk24vMdfpe3ghqymkFO0ovzqnAY/9hm0+xFq1M0WPnHqCWrREoVBbXCZ1EgXMGd7/73BEGpFQOJub5E7XROIU6+l4TB3B5QsDeTxzTRmV0Q8GPFEbMecxhWuskmGJjoGUmUdDEFjBIoMdcwTPcy9KwZ52o0TOLDRU561qzjZZMOyj8MyF+12nWUBWtNuHypHYQUsZao2Z22WhGQ8m1Qfa4PxTw3hbomv50GeBdprg4x3My1yTp1VfUwCWmy4LTw3tQuTp413vu+iC/XjR/4imT0S0/Y8WWQCuycL74Z1db51FoRgl0FFQEpr1wzcmhBtwP9FK2REi4mMMw+e39Kz9R3aN3TklaMC/8NVvQedpTjAuFsfhIdFMpJiwgs5556AoHXaxjZlP8giHpUlKIhqy0dbv3R4jUrtxNC7N9rDLHFi+yly5PWZazgipY0Ut7d38eqel/a4PjzPWFBnTdzaKVOqwXtHgvrUAiR5tU6/XyDE+MxD0lx7NVtdLPsLuawIrHIejAHLMZpDdeQr6R+KnAL9vyrL3ISZfkn7m4UHYSgzcuydZpKG8lXvM3seQbdf1zSEqqQIwtsPAcAGILJXOa7zBwzHdGhqgpGN/AeW+Bb9kUDSk1mrM3r9i0O/zX46PQmzI0Eus1G+FFlopORAiErkfAf20zDLeKwtYIMIbTOlyyhTUeVyCinpKGYHXTXv8wM+RbE1SjWMr8pt7iSOmSmGqPe4Awbi082gKP6RH6mKxO63JBQl0CsjW8WVo/J5YswZpJ4L433AIdyLVqNNmE/JJfYF8Kq81ZojKO5wZdkZsdtq+l5rgkZO73Afbz+Ek+GtI78CqhAmwkoobxYYfKUJWNSDJJ5l6I4PVhbEmsgH1mbzNZQUmBCdRA3isBl8K33j87SU6ByqPUR4I208v0y3Wntc/t/nkW8dyAEvcE7/3jBd4oFBQMZML4+VsUD2AzlpcFgpgaL1f/GlXAAEd0yyg3eBshgBZrruLdaZpdABwdUgCiKO9pusUNfH9X1q9naP/lx7xPce2/l4xkcEJ3Jmnu0qPHf0rks1EnD/6Lc8B6nkegeJBtGPouDYG6oQyjHZTG2irNwMz3JQ8nGRWNHSKoFPVIyN5gVKqPtkNNNQaiNphSzkKjcc+YG9NmDtVz8j9sd3+s3yTSoqqlIdEI1H1WtC3vb1vqWt4Nfbs8lNjLNXxeMRmd0p2o/FbXZRn73/JMThTC35hyfe4/zKyvGLyNBsEhAXOQlgS1w8ftPNjT015iwMuGH0arcBLdBqqW50jaD8kw1XeYQaEAn3wpkZO+ddQViDo/+Lc6OrbZygrMcWVJ9jJwVrMDxKap+Rz5OvfSEipcGX95n3vL3LEhANBsj7KFNSx9PIzPCKQK9En64MuKDhmfAEg53y74MP+wK+/68LD6J1qCuT6/E5LJYvxDZvUNU+xZJ1yyWiz22AkswnsqDuFz8dQh3f6EUmUPGynqAA0SQ+207Byc0Ed+9weSgry70n2YZslRz7+MK3HsTuYHWEcGucyBF43k4zuqWRcW7C6M1xlH/rBpmkBchp39wdyo00FPhcNnGhYjHTbvsRdK1woobY1k8nf4bvcI+mPIIKCFFBu4nz2xKbDPE4/udU1SWIFjXX9P9O6rJUaWUOrMpl759yu8Wfgnou4aiKALUTbw/UwxdpTY94/joWnNwE+RQ7Svdfqy90NEyoaokoFWe6aB8iqqq+6A4aROZ63MmZishJFc3DwGIzqoIYbF99EmMFI8rY5Js6dCzvJEQIXNLZh6K8AfEgVMNFx6AZ9K44cPZ7Yqsno38C2COB4SjGumWfvbL07f3vYmP7eRhJP4Lr1EYL6KTV2+CXUQf4OqzpG+vW4XxoJgYQ1zwa/4Ol0fho2kiYX4KSILKfmEFyC2NnsiBzX6fuZo3B8fdLePG5CbwJA2QUXuIWNT9PfbFJIQzbC/A2ywejXDPGM537suTUmzaHcJqCkspOBoTt73Jbpn+Gtbde2fAG9IGduno76r1vFUNMKnDhpJZ9y7wyDrjcLXQD4qr0UNlCiJ5F5ES3i+k7BMxF9HTI/Ol1a4AHZwz+uN4ythNtZAfgUIHJRr4748kWTlZcAF1H+EzJg4LbIbgnW1y+EUV+ppAR0CPYTmSCt6+jYg2U4MaRKRoXiJtSY9ggT87swos9zALT56v2EbSQGGhxzZHRIMyFx/Y4/egyTG8bB3XWsjx3Nv6YRda7lrRJFGhGZxpmnDAxELVmXS7JyicCu9EDZmHZIUWRv8qxvqPDQ7vB8X4hN0Ui056h4t1xpHAAqrjeIwq2yPmL179kjy4Ld5SxLjjwc4VMW6+OfiMYruyuSVHV7JrWbTuD3XE5ebokZJkrQ3t86kMuaYSz4hrWgFi7h6pG51eD3XC0FWOltIAyIDvhoGGta/Q6IDuP1fqjIcpt4DVAzzXwIYHGG91S9cj7r0d6k9RSTgoXu+oQ7MXcxmOWtqD9Zlgn6A14n4jFlmaeiGqGMKUVGk6tSWFrz1cwTrdSeySRKLu3zpBhxT1KD8hQmc6b5uYGBIvqiG5xqqrCud/pHVpsmIB6Vw5bnHhI/AdEE40Luz/TZxKqC3xZlsBmnFYr1eo1YTRN7c789zemYgI7N1EOvMRULL9o4cX63MgVIh/Vta2t98dVL+5r49j1OI21dk0tYNXmS1iVs0L8sJC9bZ4hP+ed+J9I0q7tQYtD44guQN17EnLbGnoQiFkCAbKouY3szgHJmfJhaDH+r6Dls1EtEyCZ8wekcSCSXYAUgJfrq8E5GyZsAX7YSps7fQ5U4xiFwqWSuAQoHMUDCRUqMkeHIUOFlgk92/hWPai/Iv+jsG7mc1NlGWBWq0O/Z+DEjHcFHXF52Rbp9HIuK3ZjKY21btDysZ/M0Rb5GIX+afv48DKPHTJrwF31/k4SdPmRI3NMOKlECtcTft6Ij3FlkpOR7MnOTOrT+F7R4vYR72gA5FzJEAMKGztfxAh05p1et5xQ1816CxwgxpcCbcbQ5E8h9s1gJORLRwEeojTvn6v16QCNCrgJQPsV3oVkOgoutHv6macuUv2wKioJEqM0nWMbWbIAhCQdYRqrC/OIaMJc8EccL8Xp+dbD23xLpBWhH3BVjHkTxp2qsz8kaWssfr4ELVBDhIRQC4X4MQzUa3Y5e0xVam4UQBNkUb2SBmSe1NTjY0xM2Pg98y00XfZjG4U8WDDWa0T3WVHDA0LYgClvA+RqUndA3zS7wLsWuv7+g14yGE/FMKscDSIzP4dT9MumKe6j0HEXa9DQg/LbqqA85X97h6scVsofHkurrERiId1zhyFwKwToKpZaPP2SvSx6jwiBZBHplTR0YD72y3NByOsiHYThXpUhDuzFhoCQdjrwlR2e6ZhXhgeRcWfODM1LYweqU0GWDvoxpcpm20hQCyMx+bkLjJRZYBXhMIYXD6aLZEokr8FNzyaAKOFRQacWXn2n9UFAeyJDyrOV8mTCEfTr2wU7QKzl9VaXDj66cUCezsrgHex2EC+uaPKKXdb0r5tOXI0AFwb03dtb3IF1CjKZvsdbicdS8LPEeN/puDfVeSVJjuZEjAbTzTXkzIVc9/hg0sFnE6InObFOSRKKvZDt8cxUIJgrOXumVkGqU575r5smjum2QMhuytEov7/PmzzpmhQr2XDUFJoiAyKAr/m1Xsz2t6ttkpstnEsQoa664uTSU6LZ90EVLDw/VowAH5VijTp5nlqJx0Fknv0gBI1nRtATIcHRN7XuOWpRXyuIdVxsoXrGHZblrk6d79WyHT3LTyHavw14lD52I57PVcXtQOj0tOpCOrnEemdoChWnoPtCyTPL5S29f78JTJfOcPU/zQk8daOXRH6JzZOW9fmbf40ZUyXvXHe5EPOmcUUo1V3Z1EBGt8KoF2+2CZiEMH7QGyhdsDXLnr5wBeXwmMJ+UQ4edcq84Rdz+T6DoFUegDa2ciRj1AcIRbMODab87UR/wfvL6t8u/LHgrz6OTnQdlPhkfQ6lj+4aVdJwYlYE/jD4eTpyJLKcAXS6EQSC5QnqKoyQD/ZT+sTiAYfDs0F89q8Q4lLpvxz+5cqTqlmIXWA77SlzQ7XnR+VaeIIzSDqKhFpBgK7lJlDRxQShqhObGombVZ7LSJqwZ+o7lPC3b9HRUYusVmGjgF6blauOCiYb3AwwIgfcufYmIcbtZ4+ItOiDDiiFsWOgNAeXpInz9rdzXzY99Ue4MDT8UEfBon5pWFzsyaTZxm9r/MbXhmsPulaDuyugkors+n6ihiX3YCzCf28kbngOZxQ3F5H8psQ1p77oWh7PDFXa6lybievKbCl3lQQw70XYJzTXa9UStFtVH+II1iyyIAXJmf5KaPA4oYJbLIKrhRd5u6iAsD3dJeBOeGQzQlmIF98EFk8NCuOtDy+ODnwyBXK7/Kz2sLDJXf9O6zgGXb567brPHDFhRm7A9V20uvWyP8XBvbr3QN5x+uAGJmSLCWEQEJivVcfSEuvy48vXHu36VTkkMSO96WrXgQ7C5xO9CmP7XizZTnhQ5YQdeseUACXj0NJldNAQD1Ch6OTKjbDRiOQUDRTlMAWvpCFQUNohC7AlWmxosIADPd43apvucBCk8UHEpcGyU5ZKvtGUlWWs0LlpuNq7fijo0TqoINwczGCY1wigYNyjQ3xnVm3yDqPBWLmtk6NKuWjCaSY+C8aRHw3f1A0aBdY/gBZftzutYRiDeTCHyxBaiO+tU33wGuG7EepUOCVWJhO7wQZHm5iczD+fkVml2lrrhx22jZmjRVhKaG/lqytqsWe5Lf6c5bF5a5kA5C12oxZR8HwI4FaCeJqUAmGjw7ktU95ls8Bfntt2zz76fuY/M4RdnJ+PZlCS8PeRURKNUqGaPS+l2iH+ivXv+71qr2T7McqIH3wmGqWGB7XL3gQKxaJMBdVP5RPFVfO6Y5kHUAFjc0Aw/D3LCEJYiVEM9/aufE4ranczMtKGgNwwQB3NYpeLoKupZkeXgvNcmsnhk54ESR91ceLbaTH2usJYDJDviyBcX1SOY9pl0lzm3uLlFGWcB082+hSFORWeJ54u6RLBJgK68CxxuifLU34oCec/TJl2YrKhWH4z94NI747Jg6F7vj/wW/Rl4QjE8APw+V8rjR5whm6YZlwh++zaqdaqvQ+/cZYbZhRQCrBtVkjtYBkb4pE107ArbIIFJDPJDBeeYxeYa/8GgErTkNTc7uUBpY04WEgGkkHJJUhwb5rT8ZX/4fjQ63TNz0//XKQD+yp1iy2Bvg6OejXRAsbSt+JBCHI9hSFkUPniO02ngICc3V7gtnu8l3iTJiOj+LAZFUAgUcnYXVnY1wNBujo0TJmWud1Tsizyz3AXpKgWSeQUqrAhIw9af+WCTUxKE0x2AFIeu7oPCFheQi7Daafg161kWaajfW4TBwEP98RS0ZgXBY8H0GMF/e/HVBTtnFBBMfwRdO/cKGwsxltcGbhXsCZvAwiE7+aU3Dj8yoWzc8IqPFI3Dh6hvKcdI3laXKNkLMHi2Xsk03Xq97/EcZCZypxMnQPmUPycauP2ZSm8CZxnMov7R4KdeTsths7KLjTF15Hm8NGkUUDoNufWAa+QWueIssPGzLPJX33tCyNrxi6fiuDDpdmyU+5pvYNNRS9O/Ph8vUU/Pw8z41yEwa8XZ6r323WnK5pAMNrmJDKLL8X8yQlNOEBWQTXBrYH1BJMKyV/84MShurU0b1c+jW71Fy6tZtd34lbyt8TCFprSfpM6z0u+Nm1s68k4+sPaOiqAHKjQxjE5uYQv1B5vQwMyZmYA3aZkX2fSze7MY3lbb/d44040eA2hWtfRmmFs04O61wq3xsaDJGezgY6FbqX7raX6PAlffpkWYwQ0HBY9LkVSy92/Pnxio56peGstMGNnQntplRgbbAXwUtXMO7aKU9ad+un6TPCw0UHuKKWpfpBlETTWDtp0FH6sMsTa6+E/a88J3ByyEwoZYn2aY8FHwOvkTChkZiTXrQaFvZAnxbDjKulvaEiSohUiS/FZQ387L11AAC0VRmWveMXsqOTknXkjvTM/72seT0ZNeAC7bZCI1pupQFTL4H29Ta5NIcspLyHz1J7dxAOTak8riPZCMcNRiCHI5B/5FIzIToA2jUzUNguWR3EzYGBqXXFJ2lskun6gpEygm6hyDKfagdqgG11IMGmerEP1Z1CdhDpBycwqiP/GPL2+zl/phdBC8OtL3ZSq1T/vPteePjMd4Oz/I6mSteXF/Gfpt3mL9SqyA0/2xDm2FWlB2OTheVcv672n8G02gblCyYzoYoOQp7YCooVSPM+5nvNKc/l3cjgF/Qxpm8R+31kUlIHmNTot0DYPEc2N3uBAdCcSBiee7fM72gSc2zD1Gb+mIFIMJacY2OVaL4bcHboQ8/EgOn8sjfH2wwdYpdl3SnEaR5Wzn+rbHfz7klajJolM4d3WSYQprJGtJI52Bni3DfmFetGG9wVGVZ/0zN21O3rkY1kMLnCY2+FQw/tDY9zz4W9rxoq3/AyzdHAlMBy5vE7oT+ZPX6X3BBLmpURvnIemj+zcuW6idPMWgbhVlEiUWrNvTu2bLMyWUJcnLP2p6sVOslnHojxVaqYBD1D60r6NW5O1swjmimtzGqdhk4J9WLG7tMRyIPimtxjRfSNoL+xOfi9wSOl4tRvvGdjMIFPXUirycMSuqfGIt17ax8vfyrNOwRiexZkeSMjyJK/JuqoPz/i8y28PRmYvBLv6+QydMawWvn6U8BQwWuGGzBIln45FiOQJ+9ZY4zkoT4NDDjKB9vE5awS7MUa0Uj690TX9T36ZVFFB3W6QQ3M67EhoUPx7v0D1Tjde7ZCJt70/mY/fCxC3dDksdenj0ekzDKj1PqljAjz4kfxE3C8ZTHFLiwse4/Hi0+P8TJ7T+hBHGP7LSLQp3EaG5dSaOVtsJiNi57phhL3TTnxYUOgK/ed+dTpO3JFXmlt4lJfrsIio0iruTgtKeQNTuokp6cIxsnTyaXJP/H7nIffh8Guy3tGmsc1b8DIwEwZxLleOsiMSXTvgU/VViDtYOHqUmSUfCXUxCb9gO7PGE61WK6zMWXk9kLED28gEqSf/ZGByZ5KDKgCkj2J7XXC4UUP0gFTZb4uKQ69ii7wSTS3jvXGQCjfYE+9XcuxOauJqiFFNSRRyhV2nE0MIWb2+NvRWN9pieWBAIW9jDhnoRX70vvwFLxPFsNdnU6FUK1hF/lod3fXsDhkV407iFQ/9xucoGjm6j2T87XtNX3OLj82Mds4IQautGAhflz0kcsxgmlS7/gHBSdyFjsGozRBpRTTTduU9x2QpKlj4l8s7CpSzEw2ir3VCrBxlay+ZTk1EvEnJ1YWRq0AoE6N4Vym3ARkKA3qGLrln0RC3Z9Zhq9/0J+tEUxNdCQwD+ywd5n7OM02QlCzcAmil3l3ehJWMcuMkMshpEaKT0MsesRwHudwpHEVJugdcWp3/t92WnUi24AzMLwQb3uHr77pzTAOUgFgi5yLlMlqYR0ip5AlQEd4sixbMuZNZ3FpdyDjXS4AaP3haFOCcWlpWl8NYQTJm4LyC7VObMsA53wy0pRTJxo/p3//BhNntvsmQSo0WXy7NOUJoQHJOwyK8kUUdt+wZ0oOU02Bf3Qrk2GzWFG5m73Z1o9rwk3LadgiyBeWDonY/K/VcH0HHFKEd5wSSJh0P4rqEDrBHzh+cWPa3fmKcpcTOm4QEV2DTT/u21uFcN54wiSSeJwekicdwuGxtqxy3NkMIlKW5VHCXEY4u1xqGW+8sHlk5Jc2dmY46IfdrugnjbGa5DHMzUDFe1PDMhNRn+HDSGv+8FhjrNybHGeNo8PKOa/w7wBBmKNEAROFs/sRlym8kZf5ScwLFgh+Om4MozN4Zurjg9ZFVMvDQxlyo7JkkZUrSZhF6HEmhnXzZNVDhv7wmglj7l7rSeGAkyL8N5cTGbZvmJF6utIEPUYrCq/YrE3pBbjvLwXRcE8Rwhkppaa1HYzufAieQDMTaDccvsNMRbttvQOOs5zjJM25lY3tY8j2AmQ2RKRejGlI8/B74X1R3Ka1b1RzwOU9L9HO0IgabRplLFEwRrik8PXN//N/qS3BSQyuVfNfAjch4yJSnerVS6D13wAB9itOTGJMxJu+nO3qikJ6BIVrayLKtFlmHs4kQiWQiN+ouEbcKc6Au+Zv9sww9/RPurJWn733tKQ6vykBljCoMo76WQsfTzvLJIiGSrSyiQ1crDRCBiK9qu/LBtQ5pnr9q/42G7hG8KNCEJ6pKm6UZ10UaC+dAw/hOmq5KeeS5tXQ7NzSiOt52aUmy75nbwsv/LyoxTr9opGwgO2mjOAGAPl0IfArNIrddhRIgLxbLQlHbiRFA0CiQ0zhW0fPLcCLyCW/NcHaLrtyuvKsIVVHh25G2x9sTKcwDdoczdiCAOkeXFa3zAJs5OpEig+3LXOqeF/IzktyXFl0tv21wdqN4zLGHZDI0taykQRkYzpdQLIFd/FYl/jG06Kp5X1arb5V9dlPwu7Cp9fVAysW9J+IpP9x910AhWUzhget8BZkX6mbvidngnypbSJgi3SHIjTWK40BScYRc9h/g0ZXECG2eXAPTPTLy4HGWPgKcezkDd3rYYU9yu92o/pwq/VOPDSSCzvXqym3cnHbktjtFTM0rOUj2IOn2qrfIExGbTHygU+H+Zkgt0nOJwlDOeZDX8spW9MuoYMHMDYXJlOXpdgjQU9TAztxTzqh450ulWZecBYGUZI3e8ycV+ygepZd3gbzjp5H1/SU7rTcn1uf9WQus1aRGHivRZVcvXp7vAuELtGw4HIV3FvwuSaEAjMPzdX5PLAyueGHzINwzDuBwpfeMbuxmZOC0B7WXZb14/8N4pICNPkyGZW3n4dye4Z3YZEOs8+VAC/lz5Q/fxXxtACBUhjtG5aSDTHKVVcQ09nr7L7d1gjogtB5oTyEtw6aZ3HyyxOrOcX0+8e7i66J2KM9mGzCd5MM/7zKUihWlzAxb9asymOzq0ryHgtjkp8LMIFtqYMwMrXzjfbXPhpRZfQnXF0iLcfXJNhxJyCaluPuvljsWY6oiQAW05uIq+R4Uu76KEaUm86v0/tA0D6Oz4QbCnytUnaZlCXOhXCDBbQKDzY/2BwHZTE1iWvYnujyuS+kt74GVDYwOiZW0bmjCZZQlQ/1tpZFmTpkGCPy7FPaWwe1TeiQZRTsFy7BckovnLvIgzThxC5TGdjiU8WEWD+eJDUpqK7HEkqqEvOuGGa9UGKnXElJQajGwE5nYUjNBmFrc4dku6eiTWR3xWOjqN2kF4c3A8+ztwoAvK0uSi3L8XSwyMZ4v6JpDx7Z49BGWgZgxpYyjtF7rInar/BdTprMoCDgv1n7JHz48Qrvd0X+bIGyFHfROiWnrxvrca0H/gT5x0TSWO1GI+POFoyC4XOq2ComdlSMGEdv7fvsmZkcWPxwpBoEtF+tSs0DCyssC7/B3fkFevCNboD4KiOpSoLt9BabQNmFoXnwH/OzdjSlyn3Xs2PAftUe9bKC+Q2DxvCjjRo8N9zsE7sWGG8vjxYQrb3z5xMBIN3j4pV8jCDSntSVDCPqodT90MSzVNbEFDfNc0+kw81kmh1yB3QakaemtpYkApUchyCIubsNwGkmjamgDZgPfS0yI0gsh9lkyFBZHrQJfxXOtXXEyF/sDlgSvPjNTtjulBiJ8BS/9Mx6cLDh93GVJetaIjeaRYK/1d0x+Gidu28xZIAOftGlrg96QjJ82uFF6bUasP3TJdHcS2GRoV9zAbrIbeE3VOII9Dqqv6o0BKhpFC9wRB9n431l534/h6xHcLCVLYOR4BOaKCas/QQDxTVmIl3G4hvB/OwJ0OMOYjQTxU34yMpd4BfPuqzy3ZsHhpwUXW3ZSzK/6T4UJ8zk68WlvdbzmrQMu2UUI33QU5ufUGEx+jmJis+hHTvx9v6fi08fCNlTJGagwfPSYYt5puZ5EpPWw0C402sXujTLWJDFvKPCQ8SEi4Il6BpbRk48irUPbstdpk3HD27QywGhW7XCj420G5XsrIkJBlTxJjnCWVh3274Qo8g/NEOGOd8ePCG29fa4RMJSdBNuYEXIXm9XWskr/LkRY+B2Zs2s2gv509ErQwTHvK2Kl0IeEb4izNNeDlLSPiMilqc0dT1MgbaJiOpEhwrkIr9WKPI9YcAG9HB3DwOCbwrQdJDskU+wJ6eKi4bS5zY9P3qy4EU4eD9hafjGteBSeY/KBOt7SGazGz8SFw0lR7MumCX6vXLLdTTctbvr2xL9nyWlK52yO0NPFbFkTOcrthGnC25u73Lkw0j2luCxEp72yERBxarXwEXIZ14o+of6HLmP6pMHB3AQW+iiVKQmHwaHQTlUWGLosg4dsrtMGtFJogMtPVzrw4nWPDp2g1MdeHBp2WGm1rKV5bLlLNG3IJLDrtty9dVc/W4P2cY6/XXR/jrjjkZ+SndotZX8Yl5d4hYhLgDbNA9APRXIycNOdCVbEPNT3QY/hrrrHTjZPBt/8ZA4+UIRbZqsdz6CnVi72ZkH8PNl9uDtcnW8rijiCc7i1/O4ZsQnehnskP5CTAnTmXr5I2o8PSeNzwl+9qF2XR2xIS/BI1Rh3Vo7Jod0XeMF8lL+i2InEapKXy10yto6ICqtweV53iqDXyydCiwcoQ9AGOXrnobjoIpkulV8Spe0/ukvvzRWhy6tDuw+ym4kNlYl96/YxvVSOMrUQlYs7r6BYaOPnT9Tjx+/EY59Wvbd+FvqRlfP0SVpsuhYNeElt2ZMcp0xm6nzxkd6BN2DppQ5mFTTWvV6hQphKGSayHax+tX+4lk00PlHBMyhKwHacSwjfrYltbN02UOAZ8j4pVesNkTzwpQVym4SsI/9nz2pW1p5Tz4byoUq7aIFr0E465E3kWqEc/TVXSBteCwUMx+iuWPVhtEyN/KDo/79IvjpxSsGJBP/JmvAH7W1h5Sh3tZymY7aKBZEmGEO4IAFnwMmMyAOn3hQKcuVs8l42geUEm6MAvWmHkrP13/e4ogSJcYCG7hKw4/cRFVdY9/s981uk8PymGzUHnd4veAN5wML3QFfS/6syk00JNEfPHST2kpftLPqN+5ijQK63hkCYR0VyK2vTT8RAbibJ8lbT3szS6FDz7Qf8SiLJ1UhjfmJGMVZq3z88Oxwgl5hLep93hssBJTpFvFBNORS7IPQa4iTIVxjAww4GhUw2CVv8BFcRu1xJJwe0+Cy26Z6L0eB8fnl3fU0Vzcg8Deq63U+tniQv30X60HU0EVypF/fjdpSULY++M8SQ54sH4cCkpY5O7lr2kz1oosKRoKte2x7CCv7WFDZer+XBxXbKPrHlaceirokDqnMJ6gCGXydEsArjj2n3wmohanVOuo+aCF+wGI3QyJWazPYGWC19dTjXFuxwO1hyKYEPjd/6u0YhT+8UzrApov8SvcTP7xFrzg2A+X+KI6ppja4fwgScG2zCuKhotVBUDCvsujk8Wxh8guiyEYbzT3+9YBXlkQmSjL6g/YpUWskV9uNYLfaawt/2uKo0gjNYf45g9v+BtxhgN8BQNxZd7AGUcJxsTjG3aQM0K58up7Iwvad71mFy9ce9Q5PpqUN1E72H4aBZdwvz2KOdNHwarva5oO3NuZx+px6x2QlhPyMPFFxXN7FVd7W1YLmit+4pf85iZjI9/jCrRWRc95CBATWgCWxp/DcWANgr+3fphplrDqboWSZ4UjwVuDXnop2EP4FS/nLjr5CvMMICh4PaxOsNnYfY+UQLaaDLRu0NCvKCNpc+BnEnbCl9YpHgzXzOZnVGhnptpJfkz7Fqyt1ZI9i3Lx+NySzv9SmvpdelcXrjxzT/Li2HefVDIIv7fnp9Bhmj8MFwGua0PaMbS+WZs1DkiEr5+GzkCdxFVZ6PhTH5o+DjSUi5b0ZTooVv31HfRlwd8Wo/WVIPvme452OTvjlR5LLLCWT2eMkDwfXIjNz3y7ip+C48vhcnE2n2Ogaglg5Wq0rrKd1S3NvxHUtcFkmvnjh9ECxwk6yvCdzpfm9APhuvtwrKGlj2JvDBuWDdn3vCyZHc9cwLWbraABXQ0MuyFtQ7vFiaYt1YZShsWAwXpNN5v6u4LBRTMNWjfbsQc4s6+QAVJd5rBPI+/xAKY5jQdIdijagiE5IbqO8MfzPQly3KwwPlKwwq/enWx1DL8QAgFcw1Rt3iSF2ahfksB4diaw/2U71MuIhkKD7ABX5OiEMXEEaKDsSPgcTaz/6vj/lfdkjv1GNTN5zGRkbT8xdKEwD9hhBimxfzNXtFxGsjhgwRkdAoKV2PWB4B8EihmLW9TH41OHhG4/p3Y8aQdWFpu9DNx7DYKFf6ygryhH8VFbDZCLNDVOwqa62G4B++oFgggIDTPQ4GJz6peB4NrCMMaGuMNewKj6ZBFsLVkEbzfYANR7qa130QXJnRxwmnPtcnz7xkuhwH6SfE7NVQkpbIK72sZtN5ufcBglYAr9ObU4esRAstm0PHlWOm9+XCvTMRPUfCLGzi6PqaS0Fep7O6AqU17QWtxj/FjLiSQqmtIb+goeP3bm46eKf9IQwMFNFqzb87fFGh99E1lLlgQBGyYhTDqUAvcy3oeajCOCYDXUPvgADq6JuK25j1PmfW2aKXo+3KQ+OhJe9ENPNaWb3Gh05gcis+uqeRI8tB41Itpz4lZf2diy8giY+0IMsLNGIgbb6Opj9PnSyCvmvFp6oxVaGFGbqfqe5vjJryAtReon42pIfccLIVqITPHcLyYZm3y+fPusH656Jqf0yJNte1K5FZXUIMIgJQryVF6wAGoijzdqWvsePos55FAokzvDqEcNlK2Y6vGM11TbSyaLT8rYIKtAv1bhpHfmnff23URl2hRY9blapQp1n1F18ot1T6xnnnY6JEqubHGecN76DdicRSXlgrRHTqTxXeR4DUA3KiWaMLEF2nYdHaqtrPVDS/GjN4qHXnbZd+F7MXfcCxzM+6smYkAsV1Qw5IzMihWKDeHVi3pjB+8hMbtC1Pxy+VZH3UOkeOZYJPTswQNUQKY4Rq9bCi1r6BtVR9730OmK9Bci8z4YZWGai4IbGYN3Aa63GygdALu0lZVq9GGXj6EKNfW+XUmuLX76mB82QWnNOd2cNl4ZWXHPr6ujDtBEA1KgENg3/MRZdFOcx3C6yrSoZZss9urvd/Tcov+OQ+pZIdQYXvmZpe1a2ve0qDTmrUKG6017xKdi+GAQJ2QV5/p29aXp/eEChwLCDo4ycMOVaw1z3DQhFzGWX7TepCZ0TBa1Tu2zZkU/05IsH334dJ23xnwBFhlwKWZKDcPRspfabgkLA7jkcXo/kVIFHz+lo2OyjhKXRxG6fFysxtuj8KS1irA/jiCLYRS7bUpW+SSyYO1MZgKZ9Q4oa4VPNsQph5TLlFi8ikOJuOkfrrqU5+3X+zAzTYMI0XDkGbtJkR8O0EDCEGnSjbvI4RUlUewjLhejFkDFOfpOeQfy3sv35T8A4DOjnEqPJMH2qqzwYIc5D9tR5DBgzHtXlOQ2qj+Xi5GoDhd2UI6ukLicyM9XDU0abUUHoo42HkLI/BxVd7CxBP59LSkOqJVKN76hk3LsQ1x05SjB7k7m3jc1k9BKwApiaFnZsbLvEMh5ru9sW7gZ73knpIBWdVwUCxfopdqnY4FEz1pJHyFaOL87bXgB58caX7h939idq6xySSCWlQcbMRUAmBIaznndkne520kcU/ocNuaCVQnhIgkJwijAZun8CTQsRaNP8ffTyTb4oYVugOCWkFKI7uWgcoX08uXu6jwN0ku32O1uBJsLdSrFulSLD3OI0qjC4NelpmTvDfHM3xGHsFnOJL/tVtvdUSGH/I6BwQbCJB39fDnCIxyx37mY2fkgfwtdNnhaUX3h53ZOyr8N5hoQtrpISHqKbrKwInPvAGTn5up+XVUWc7gG9T1XfpdA5Mdl6uo02pcEyHra7iDmnZE+6W05x2xFfnh/5QNed68iRPINRkJ3WLuST4vDACck8qOHp//j5cF7u043rLSjSQwQprjkRIF9gt+wcYsxRpUicgztgpryoEQY1cxlH3dGDhvZ9tDszC3VvMh4deeUKJx93USRKma4l9Ky6AGXWtchbr1X91+7HEy/eL05HJgK02iC/78SVxL4frzdvwISP3aIsaBke5NwUbhlbnfUB+MazjwWrUJP7cg31oJcw7O+FJT1XYPx+67SSb0Ow/C3rwA8oUE2NP0LVY6gay0yubGHIh4psdHhOUCdpiy8BFSo7aCxkIUUKtaQv5VVbM/FQeOib0DdXWrJNT9DkLFKvoRZwgpfVY2EfZgdElVM3Lrv+6y9lSN7i4xgX+1yeJEkVa2HB5iQTFlzErYfKbP1a7ADrxM+R0gpQhvsJ7RM9KQigJqSlW6YFPp0A1ARLVmwV3gv3+66NsL1aNWScfiRd/3qtLB6CvDuZFKaNH2wivcEEMzINy6bQ4FmgeA7ppI36vZvvK+Kb3aRJgTpvz2PPJQSmb6RCu96dZStqdvQ6kYFSG7erzQ06p6bfR++WzQg6iKqtkSva/HX8VUyWSaIV8ongNvyV9lD+KcsCQzytEh3cm5DRkwNTf1B92S90OarTNrVgb40dgIYIGJPcAlDIcOk+sIR66s0MByDWWFwaVvUW+2863YZFVN5neU1cu7a0aDW7wFMynzG08jbmfElVxmna3xfJtPzJhcBxlzN/I9YUXZHakC0LHKS2Iu/aJqr/mFE9bXLgHOgchtbr0B/n+7RXwsEOVse4wLt2/06A96Z5/3FbIzfAJddyJ2CSFH1WXh7QKBsHLgZH1bRkSPUQEC4dwt5YBEjXiOsTP69W2z4Iq3adPSmmNeQbdRhIolE4kQTmCHxzd7TCQa/AoL6EBlZ9JHiUIvWZimnbaKacj2ZdlYWVkhv4JBZLVFm4tiSbsXl4taGQqO4GfEZ8QiWWZfSHdrs62r25QLnh81al/IMbYjsUIhNoVdAU5XUcdU7MZk8+2Z2r85FZfXW8Wm8mmiQLzjeeYFf3OsJB0I/94u+/YiDJlIQhWI2yoHxY4KhD6M1T2YI/RvukekdzNbqqB5SkqdLVh/AZEOIbtLfua/O/6rRvuU5YTksP9ZUGdIQmpWdbv6t5sQX6b2Ad3BJVXWiu5cTO/EuvKzNuq9JITF4J4Fc0Iqpd1HOjCwjjy74zBixx/8bUrGwVeZnDe2WJexq/mOL4jZADMC7wWdTQd0OWofjwOuwdIiPdVlSesXEfJU0CoQfUZVt3PIKBSWsmDlXNQ8FKFooRd2Tp120rnNpaCPGBvVthGMDEGjgUoPRxxocxlH55DTik8qEToR/+bWOgPbewyaMx1DdVstucQl9Pk1jTsCP1b01XgVWRwnhDztHDZ21uq0vt1ZLixtjB3YlN1NBLJpwjUTgY7P5jczd/Ub6I8ZtDzhoHS+XyJD0XcFDG8W5AebAbkdOkrGyJ10gl9xGxz+Qh38jDaEOq22+4uD+b++Ojg+F9CNUNjffHSlzHVxhDRHLdnLEndiBF/rKKNRhKw5KYzFWYBhKuQsLQzBkVWmQhT7Z1nb3TxPxVxGCWz1uv6UN9jc7zBXBtUzgjGU3iIaJOb7grVqyyMedCR0928TZkvjpH2fptedjgd3zj1knnYsNiAF3dNXzdVqb5S5D2aIgOjEXHMEH3k7JZ1Emyrqw6turxn3ZgSJXHDTQGObS7WBR6IO6gBp55Zm8yF5jXIkecx7499OBpu0Pos+6+77oATxBdjg9PHT/XCyhJiu0nxvJsNupjOp7xa9IocvdpPy0U2ZFLjTXyhEQDhusXLap2nVckVxR0whrvJntZ74KiAEHUCBJeYPdxnSAJPrA8YhjKDMEgkYJ2sNIliXVi03c6t98Qc8d/T7BNqfb4mDzapPyahNib+OcwFbZ5mZ7OCGcCpxXPf+GRjAUexWm+ZcC6wsn/wIGh0vH9RiRoQd/1gjAODQdSTWgcIGdwAlTzsYJENkLr1lTIqaPAqqKOKO8iZlJP0tFJpWJZYTrvrCdnFv8MvVYuQiGrAsFqgfloNKZPoX+1/rV6lMDUt6Kz32HmMapK2gNe10ftvf6P7FsZojyMlA3PV+WggNb4E5J3e61Q5O5RJsTdROM6IeDMk0Ec+pNuGGVlEvHrI7CW1p4XUK1nYsVcQMtg6KMmojr4Q7QKIcvJNkl4rhPXVZTx6CImy1nUpTteFfn7PCjTovua+DCRgo4MQgDXhhRstZeCd0Vk2vADql4RVIi3JIOalpj7wD3Q7DtAxPhpjBlmer3yoo/5c9j+iCC8f6pCbCSAzOqBpYJLZfTZm381jWGr4PnLSlgOqIR5f7gF1g4yrlPxSbVl/0NSOo+Ed+2ai2/3iXqUq/LHNOynF/6gKT9E468fYShK5klDvwva6cu6YOi/njUXsAFrBPnyIYSrB+W545aDpRE374ehmu2sup8zJhDHZ4CFSTyxXNrPE5oDcaDas0n5DGQjmBvZdrEmLYYCbU52tywXERubKSH+0Hldcl6QfApVL3lY1fk+W4KYL1Ojezm2591DwpjUC0yrJRJvJCPYMhzH9B4CWH3BIA1uSSuKgkMuCtXLGifrvMiqOI+sWITpa5Ov3x9HbRVXyFOU6T1xwzNPxxRQcxBvzJ1qg39UI+No9GzmId8vUzWVA6W2LZetMycBpzu287h/c1tBxN/uPYATML2DV4IyNfiApDdwqvVgladG6Q+PKE0rf9LX0hLj3bZk3W0/2ByCcSR1WqT7nVHvGbbCrZH25YZa9H8tU7y4J0kPgKgpefqccpN12HsDMHOTi55kFA9N5Q2H4yKrwNNJ/XiD6u0DdOJNcv+kslvQH5GrmdaA6iUjjNFiC2cOk04Yw4DrovVVAgX+P7++RYFSK45hklVkweSjVsFHbuPNy0Vn9HnL/Zs7PjdASoA88xbVc+qHnIvlUTHM0xmlahcx5zfxW7JrF+6Pbc21qZ7JD1DZlRh4rI36HtbcI8JqNEgEgZMO3AYlipZV2sCqQdKJa5AR+UX6pKU07VNGcHA53FTcycdEolqcHn8gzCJZ8tsVCoTJuTwyjbmteDNehC3h5buryhwV8s7BnWhExfItOvI7KeMnAMBQJuUt8ynivQUvteSFyuenQMn7UypljU0pC08jk4UgYJt5ddOV5Y3DlR1spHXvK2gQStlMCjtOHCJ5qP3n9ZvTyvvav00RJUSQebdEnjzZ15EwLySoFUF/hqM1+cBfSQFJnrnf47Yhbwt0wY8Ja9Iu+9cGy4b3R9iky6neWUlrdfpl8kf4xEkc8nJ6A9T1QM9Z6607brxLM31kEhtWik2IEM4h8qC36akBs8EUvCZG1JRgFR8ybW0eIvwxyhX7d3AKGUAQz1dnsAYjgl7jHOZyiiyGSSaYWvezYgcIPGn7YV0BK2XyVsIfvzlVZKjes2YCMXDqu7KChqiScNa+ZwJmXQ4LjGKqIreKt60Qk2hYqqHkyZpprKz1ieWsdGoPkfY0MrPXIWBUfUJQuZtqBUFouhJnYdBLK78cPNMOlBrpyY71pWnoohNy66NWroNOmj9wxKljnAOrTF1Nyb+E34DMOUj3QeuwE2iMhuWZqyTUW6iY481nRyWItT/VstO5uJQXJmmoYHhrTttY30UfynEwn4mZMmy8XipZspD0W7ojpDL6wd2TY6iQIy/Py3z5JPC2hZDKg0tRw8Wu1+JDT8F5rQfX2muD/U6rj8IL1569dwZzo2CMmss4GDVGudHO8HDg82cEH4U+IyG5lRMr4t1ge5xf9xstz96cP+Lv5ZFEEdO0O7gzijG94XPRDbrhRy1VROfLMHIr+TVLFRg4kSWZl4qgeA6rqb7uE0Ubs1y3i5MSOgxEhTCV45C3OsphQiRJGkcIpwPmoa9z8HB+fFqilNiQCCKTfuM79ruCGEpUVzFbbUCWfPc7xoYe4OYs5K6PqBCtw6yWCSH20i7fVQAZYZFKq7xP7oDqF3YGZOE/jjAhtepddRCVlQIlUvh43DaI3eg1x/GtB/GzfRYXBX8qPzz+ZyVlzgFE5r2PHY+mL2qH1XhH/3h7/G8FD+mj9SMJIjg75h9bhNzXZlcIaFD/SGwZelYfD+6QHeneXaTaNQxj4iROV+nJs3med9HldnC1weP3vFW8ICWdUsMewAMbWYtmluDqIFkNSTPkGS8aQulW5Zv4JG9vyfgFrzjGPYv4LEXUr/OBHJU+h0ARmFRN6Nn1PqxdXmygsL4t9UyQ/QRsn+Gh8X8dqjLO7XW/OAfqzToUTZ7p6YbrB6wiuWHl4MeukIHCa7w1C9MfDcOzgn4GunawJVrC2gohQ1yWnps/qwZzAg1qdGMdNnaemTGaUhoO2NPThKSTJRvbv6uEhrlY0shFjIiNrfX46qkeIFHjuJ0cW5VmXXH10TuyaprJssybj2i35gzL+iNm3ALVo8P8GwJyB2VJvPdnPHPS5AKNitA52X1zo6qiwr+azxKHOXilc3iOpQevLg8r4k3HnbSqxjIZ4wnVH6ZXCaBs+KhPT0iTMiQ+f1V4q0YOqvWTlvcVso1Th5kr0Ny7klYDcV1OwHJQ7jq3TYqFy1PCemcIhZGk3JyhnMuNE2AtbPiqDWKJm0pwgaWMaVzA099PM3NTLy4RHteW7JWARe7E2kxlwRBaLSI4d8az3B45sahlQGiYZn557FQ4a1yzyqSxisz1nBf/mo3e6TU6iRsFdL54rnr3lipKP8s4mDfdXzo7wzkBZkf/AGG0G44ioo687wqaAr1wvHw+/DfA9NsePLOUXFTlhwwHOnOcgdh6ArUqJN2c+doqYihNMWkkY2dIbxVYfkVUyNFtb6CoelQ57efcp+MvwaZ4f99avJbcyHLUmIwOX8U4Q+Q+o1vryKvjEAAZ36rKQFJ7yDZYbgj8bNoSp5ENo8IAcOOkYsayRhbKEdmCiv2rX5Y+2KkAMwHjXmYncCdyBWe1kVU8kYu+dtQ2n4jJHQ6MXKto56ETFZGCv5Ah25ZHS6yJA7YbQfWxjBVJVr3X/GorJ60Pocuya+TCcQk2yBkNyGwHsBGDhoqQ8T3ZmhbKp8M00AjLOccVJh7tZLSEn9FXHI+oqFJpHNdy3jikUe7rs12V1F3SMsBOZqMbhGRNto1ULn8TT/UE6BRdVSzlPDmxz0ibDES+Mvy2R8nif+rfRACvxUNqpUWIuxT4TXrPbmwKOe1cT06IzCD4SH95d9Rr08lvdwbmiW+lYjWsCjg6ysXtowVjwzGE6IoOhO3dWkLAcLT9C3HHwjWpkKPfvYGakXg5/sl3aHGSVSMlJM6Xou+EiFMPjk5oQ31mtQJXtp0qKrlopR0hYa3ltSU9O5Mp61oXGUKGf4jppYJhiHR+7FJQ7TXfoA4NmLCbS17VbitX6NqJUwYJQTmjjFTROKYJJLUpmcg/ljqB6diq3WA5Ds9tY/ToO49b0PqQqrXGK39G1eWQXkgtdA+JSozfy7UugIdh5h2xS0T22nSjy7KOqESIst1FkNOQH46vsxJZgj4WrWhcyqRVdkkkQUre76vSVnjT/oQk4pgkGd4llfARKl4F5mMMdSqn+5JpJx3dtrvd7wd9+kCsGR/APt7Rxv7/RqjB5mh/te+23thQPkTWu/tF3X8CFGmtuSJ/7vqG1FwJzdHY/27BBbYpSTehYXw9v+GypC+9TxW+BR648S+7aOCbTPGZTPlYXNoWDwreev9b2QP0Cl1Gwg1UUs/LLcOJNHfAyG5vx1b0/iK6Efm8HxxJII5O+nI14tssrY7at9xjZ7IkclaEu3pX/3r5lUJ9+xOq4Zk3SzCLF0XPq53pSctnTJ5H/RB2lmJtOPf56SxLgKKEnvMT3BZYUWcqEPWbfEbKR8eYX8l2EkfWKipbOb2N5ILljzCSXzt3HfvoSGQRE+roh3SCZHdyuVEL0jJ23IBP3o8y9ASHEP4Ya46QqXZz5Rp0nP8hVvrn5nOzzkTtwp+bvPZmebOIqiFUUkCAQzzf7FY1l5UVXwEXH0xGMaXHCJ59dslU40/qsopkRppd0arx/AARMYczLEntNwOksENfBdiWsZMzY/LGe0XP4QjW4yOoJ1/jdd1A+EE97B6Gfyxl3wLljlP9ZNR/fKRTG4Tlc8VtmUs4pm4dvvFiqOyNife8BhBqNUrW96mlN51SkBg6oio9NjFwgI1VwUqULT3GUTC4gN5DozT3/Zu7OG1nQ/7f9GkwaeEB01RcmvT6hl9RzR4NLHL6W8o3qvbo8be0fxlPtXj6yarCrDtfgWAd0tiLntyAT8wDhfSS9U/s2ZVR1TrZgN2p+V4hpCf06IsMF8xxqLw2pk7dIhrThry0pf9grix8v1LaCkv/76+A3l85QTGlCdVVp/38tAcVh95GQxCX/Nr0YErYltW2brS8JoP5s6N5TTLOs0gKA1x7Fk+vm1la58GSZUMj/sAfHH+qUcB3ocvEdmWzGZNjoeiQQEJnVGSu4g/g4JO/HPK6l2PIkHmi+l+9A+AKRgkOy+6mXAU1gDXb5GlMnoiN9T2oZ4NGCevM29/7c/IC3Ei2gJPmba18rV/KfseW8QKW6Oek+Wps8ZZWT5xijX5FD9RvZN4qKEql/Yc11/MvyVEfpXYZ7Sa9XGAO6l4oZkJzEV3nx4hc9dy8W55u4egzJUOCtfAi7kqp0oH6gWoVZ7CxdNZf8gi48MTj3mZVhF20xY4/lOBjgyP1K9bDIdCa7Ib0ElwrxRz6hhtb7pwbezKt0DdqTPr/wpWbgyaV4gIFu4Sk5ORDUd2NnbKAEGtLLv6FMvDACYqCASmp2JrfLIbXM7yFpe5DannQhlMRtKqO84KdJs0gGNVwfiezRihLx2k0bp3mx/rwCE5S48GPn6oSa/EsBSvngIhk7w8cXqc8n9mxb34U64b0uI3AX8bXzZoLSvFUy68larirE8yKswB7vkuvxmtSbkUREargo7UK6rgu2jVRpEazMnwd5roTr/CKu7Ai1oAyBsHuRWth6ZJ/a7H6FmEkjr0oDUieMirs+1Mb7wioPuTxCX8ou78zBGGwyANaC4LQmEDxuZ+MgXpQlS/Re6v3n1DNulibCsjdBiKF0QHvv4hlKPSkGYy1ZJxrwgq1UMaXF1L34phsAJHeEWFVsJTvg+FQ2pWZpTjcuJp8qfe4yIVAoCHIK3bAY85LdqYEVZB/33+EEp0K9KRMe7h8KBvdn6YtlVzZVSLjubQHpKocbaOsCJL0cuDTGp5RkUQ/297udwXmGSL+BJ8mJEiJqgDXZ1bGf1OZ+7K5w3gySf9rEEMTcK/qo7EQ21WY6NBJhrKmfSQxFFutAUShF0c9rf7gtWLsuuZfUL7E3PxrcjJDV5UwI8Mfw0fuYAW9yL/azPog9HIx5uErHaN8Ia7bZlNd5fGCtzS4h2N53d1EIbIfQSMPiI7tMaRkRD7sISNViwsSe2CV2B7mChyhr8YFogPSGYRqEtKvnfr3ptrIYsuZmkBvdJdj24eDt2RLE9Znt3Liy0zpo5bmNas7q2btYE8oQ1dOMhRfNhDFMsZS5/qiBqXZhcoCvL98+PCVq366zG65eXO+CCTMtAPZrUyKBgiE6cYhtCIaqoOiHPuBR1BilEYvcUFDHUugkWMJ7XrmIWex+B/f2p7H4iPepOQVSL1pt1gAoGIsTx0qEOmeP7F68NsOm7ZDcYDnz4WaO6gHBYw0SdQkH6/Q7+L+VfFxFOo/p4XYiIfdODg6ImM+5HY6tsbnA1z+pFlssYQDCeu60FsQGLY+9YfjYlWu2xdIzIqf+m9965R5fLg5Jym5EGz/ZcPcu+lBDoMzEj53Iva6iaf0sq1GUONRNWa1KZwrRgI8t6tEj1Fr5hEizVlAKcMfYmDj4mO5rQyyNzRvxa7HZeAUDjAQ5bzfVZ9AUJRdlW/F4vd5sPSiznG5JLRVDyE1w37wzo2h4gpzj0TQh4npKleHhqjcmoX8yKxjWd/pRat/GAIGBNJzkZ2jCk3hZ71tkdCMgOd6rEYv4eNUCyuvCwqYWezcI9GS1tJ5pGtpa7e4WJb5ouoP0r59Mu83PAL50DAVT4y475ROKAcrDTRdZmU83v1+7JMZNVpY/4YveNJqeFHc9x39PrHYFctaXirJMTvnkEh77JMjoidWLZYnsSN1kKf6mHOroyLKTSuywIJlslJ5ibQoD9lNUgaQsFd+d1wgF4MFrQV5cMioFFT0LhpZtTNLwomqLXCrgt+1kPukPFktNE0Fd3/zKGrJ8U1zWFLJgx+h/e/Ak0ZPFBgmDwWcKDrM2xBoU6H8eo2AHE+3i1RZInmzYi6tK5tQr6t3EdqdJCz7lP30/qomhh5fx0FlgCSYllDVJwfA1FQPYaRXqdqmOnK6nrmmdaDKHG72+Qurop+2xulgfeqyKEuqCfkM+/tPmNBF6SG7nbMHgFHPimKrh/al+S+Ln2V3kY4xaGCfiQnVhzypUkxEK4etoLJ/hWlhAr5iEgn67LpN5O4o7DXCa2/A0Wqg9G3YW3B1vPdHf0Obri6dy6RM5Ch5JkhgPurPR313y3Lq4gKAasrOeRThmHzTo7XxSDSVyDeoKaJnxX556lUyfLMDInMabPpNaTyLeeTSfEDZoDpcqXQHxX8724/7pKhDhmHa1ZZI+wUjO4tMZyq87gWfBm+iuqWm4QHVdQEC4Hoax8U8lTfShhWZUMKgMXJG1XOLClQG5lYLxED6mG/1Qcdso55EDpzKRy71QS489s1FCaHsFBp7WgFOvOGG+x3TnU81EYsIHdWc8I6VVeiZtZ+q7fGvdjm9Aax0tFscCUi0tBxdxg1vZ/Dkc/cHW62QqBFX9kLCeiJijm9U1xIQ3lCdumNdSWgiV8fhcNhUR/iqgPHxkS4bL/BcmP8DJxYvCcPnvRKHFBPBxAKYhFSTnXWxrNGDuxTVoq7EeBZ55H6VZCSPMT4lRwP531D/57UUusoZPj8Te484r5OLxAjO8y4Ve+jmjsXWrVRUSpA/y3rvVsSsazml8CrwDvFQtxrr3QeNoBKXCSDZob4iwFX2EL5EWqaq3v2BTViSe5eyB8fO3HcOXtE1IleICbDLenqdScGyO/zeJy+cU30TxcMLpipu+z5june8M4rhSD+5D69KUpuaOsT52naCTenGMxXlEfnIUN7ZvZY02rkL1ku0CmqQiA2g4dAGJngocG+zhmALcgEU0CtgJtVVOneIoKdKLBRXiUiS6jr4zwTFPN4FP/8wW6S4c036Yfeq1I5QMzU5LZsTZxTHo07+/HKfCpQDnedRmRniw7PVjRW7xWSRrbUnMyfHnTfhYU0b2A5a+VhmxSNk7k+/KnrVO9mZY7qIFSTi4BaeYuBEtD9RSwy2Ual7m5zVc4YBDMX80RV9oLRrc0+jX2xaBtQoG0AkZSEFfRjbqi1JpnRXQpp0dnR7sSrZKSGb0vzTHiKWvp+TlOA4hzhzWOo68UfXyCfurqFbAYOA6ASTmYtYaOlIliDh2VqOCoIO2dFirk2L4GRURLPqpRXmn8D+xtYjKH31qNO0o2jeaFUshLyKaK33fi+qwv6rtfX1WSttH7l4zhhbTXG02fh2Jv9c2Y5Gk33HSeBzRnQaDwZI0Q/vdwDF/Uh0GQtbEiuJYkqLJsTt5h8MncYWu/aJ1q5l4Wej/fh8qexB+mvk/4uIfSzHlcq1OU+Z2fjClZ+ZF3EkdC0wJ19fPSdNUN/uX24ASlgZskrN5ATGmY6So4tiNtKDkEI2s4AHWikKqA3e7EX5DGRy1vK9vkYdsP8eWww9QLU0kaR/h0Pu3r8a81DhPqF0si/WbP5mDC+3oVAt3B3tNUcKAWspq8e111dNJ6x7BStfBzeLpJEZn3DC86BPEXbILtI3lr0g9KEUYuIhlmdOuG13zGADMnyL9VyNPXi1zWiCniP5kemZknZ7/s0GUhyM23BLooFMB5p2rW3D0VbVfdHTEOr5mpN/umApikmEAjJ+CKvAagZbldlmt4pi01ouDTmyqAWp5n6lSElqD0iMjEH1JS/vf0bz4WxNgKJm4ceu0n4M/ewB1LdaoM21B3dV+irCRZi/dXKdTz/WhAvKdeESQckbm8bTEbiTv8SwJdxB6p+qEiAiqLfMVbQY6heQjHWUsq5wRSKHFmfqwVzrvakFBlHDktgqT1ocz7Dx51V2WUHPo1z3xeR/6261rcurkIbEfj2J8EADmdb4b9gU+sCONJSuVRzDXiGdt+mw90yfB4cmcqTSF1UdrZs9d+c2DLs17kewBy8UmwCMS7iZuMFoI/XFEv/9JBQmfA=">
            <a:extLst>
              <a:ext uri="{FF2B5EF4-FFF2-40B4-BE49-F238E27FC236}">
                <a16:creationId xmlns:a16="http://schemas.microsoft.com/office/drawing/2014/main" id="{92CDFB7D-9A26-4923-AB39-1F8E2ADE67B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651993" y="1799924"/>
            <a:ext cx="4114800" cy="4791456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 descr="Enter Chart Description Here:&#10;&#10;End of Chart Description&#10;DO NOT ALTER TEXT BELOW THIS POINT! IF YOU DO YOUR CHART WILL NOT BE EDITABLE!&#10;mkkoexcel__Book1~~zzMG_Chart2~~ca98daa2-0491-44fa-bc23-0c485aff89b2~~637548578299479379~~~~False~~False~~Falsemkko__4HooU0THZk28POP9trq+pbTvvzd/gcV8t56cq85kb3NDTsUhojRA0EsgEHHMH7oYP1SYpn09ysXVivguJdhTvfyVMsBLTGvcX7WPTor/CmXQ30RXwdXtvkH0USJ3+j215egEJEuk7gHZHGx82zPR3W9UzvHEntSXqqBpCsPUv5X4RlNaOOdFTF8P5Q7nrWIjGQIILdVMtJ4ci2EAq9itxPJDWGVVco+2qladpljAzexJqM6rYWnEbvV6FgNjkGCuwcpP17OB9TXkcbv8XnqvusWwvWe7pdi3maoisMt7tv9KeH3ldSX2nbjcT9c6dPEFpY73d96yVKj7fFU3FG8UqaegYujAg6cu6INfzgDpkqVY5maKUYcf0/tIsUwYSnCbHF8A1A2lULHKPWWMj1/h49h+aCygti9opTPRxX8mbTTMa9IRdZjOGv9JRa4g8aqf6AS90lGatNo8xcrEa4l5UMbjNcWx1mA0FySS1dzFyImJnv7rGJ3WLg+aJz9Okkcqdx7uOomGDpTlM8C28ZW/DBFQf6+dOQaWZvnf0yR4jVPxVWMY2oi59KEVdox8MrP9jWirFe5TAME6/ytw0XyxhIkc+fr+OzI1mxjwFgm0G+y2y93nSM2ewS+OzJmjKBeyePbY0Ob/E+iImBzy9jmFdsgrZZVqESfIdrN9atRMn3e/MWneGCFibAQzNkc4VdFGtXprcjc71b2aAcPsH25nf/6Y02kkgwEsBnp49/D+jSrKeHtcaQdfkbAxtIyfjcQyYMwnv8zyu7z9LLx5QZGNDB/n+Bk2CiIzaEylb10/sNro96qhx7Q5oNjY4yRyq41NkuP20LeJAPfW8az7wmX6F/Vpq0+djSKKZrxiuUNVd5W+yFIDUNfU5cHRoxUBZgPjV5iATvnp4mZsy4FbznXSAcTKi7PNgwEtOxBvF09aqfOUOwlsW8RlcAYTr+WiXaX/qZ87+vWmG1yop9mriEcKxkzb3d/NXte1CJlM3C+WELKmqMyJ5JcfjW07zp7KSpnMihbJF/TAb6humVp3A37X4R4S0yi2xq3Vk5Ktt+rrVMGRv4N4h4a9koyMkitEIP76rASh/WH4VO1Tl+g9TXMeQ3z/RnqRkh0nceae0tf42vS7tpxnEunzDQcHMT9cAeI9NMLJ9p3Uhlwdl9tYTv5LBxjojjORcCnPe/vvuXcBIs+YKQHsKsAhkt1A6gqOhOABcvxPtO7vi+hQX7dQvQnMW19R2cC+TmMqX0D1tAEyNfB+EeRxaNMqateQoSW8F3ZW/S3M2PTBFRkQcJ0i2gAGt/nRJpDiv2SnjKTKeaZDYC/ZvK5cjwR1VtlFoNE3MsVRY48vIyBH8ZaCvWZhRFNujUL3mHF3I6hq/ytidItNKiJKinzAqcc25NhbaH4ddeNCCtEw+o+aBN9x0I5MZSEcsvRyB5ruuGgPW26tqzHozT8yma/RWD29Jal8KEm6uLlN7ppMFN0a94isyM87f8jKsEKRZPPJDIWQpZoyHQL0G6n7ijWLsn6dAUWUvNTfj1CPWQ0Icb+hPRO9ypDoEcP231LhXSms8PAovR0PwG9ySLjN7ljg7XFOpqPcfXAh5S0lgSuWXvG1HqZHU8vUFt+IuWrorIIlt73fWTG5PMP2es26MBL+t4pe6vhDEY97KTat1LU9l+JqBfrJUeJ1RbhkTWWnNmBxD0Tv5qMLJIe85BPSUJzqrlEDFaUsjTub+hBI3pprzopWbaPfIPdCy1jL3DfnXiRscHRrprSAJTaecfUcuHqtMMHzxcU62Tz3IpdJ6oDUWctHz8FVza4126MzFb44KSr0rUKjuMjlxkZ/TZrSNerX/Cs92YeuCFaroos/vbc1mbsvoh4ZMtaqjcHSj/0H6eGuumckTyaW0gGCPG2pfcT7WlQIbqo0c7MLTO21u97sLPvMbcP+McLrAUXFwljipzw/k6CJ4liHqIzZk/auWKQmiRNtTF6kNtUTLm0UttgQ4lZ/Tu4XHsfIC0ImEAfqRVD6iCE572+f1ay0A7hXNLx57Aqwc7FyqhnTHSeWP6QIiimcSR9YCkcW20oL7afZ2fI3OkJNLFQRoxS2FzVpDH2i/h7YlSmsYfQiJRS+DYab79U/OIYoaI54L6VT3IzBiCRj8FRLYGnD5chFz3C7cywL+jzvQFS43UcqzcbMJucog5YGtoY6jw3Ee6mCysc2xBQx6Ah1V4u04VKGKaEPiD64Kikr7NmDqlIFDuulLq2QIx3MP8zzF/ZtjiNuCLByUjHbpAaYZQ0aI17d09oifvrYX7upRdwUAJOnAY/NUlrkmo6HJ7Ler061H0cY7K43ZWE0TUt67a+eKBsEQibFhT/5WV///wEnQx4WSxO3tKBi7504rAUrH0VI9jePfXIb0J5QE7KLPhJximOHpTpOPItBhoOLiw9/G7C5Dfxubg7bXKZASzcp5ERLh+RiL2RCj6z2wllqUyYubvd/+oSPyNufINU6TVC3wShuois5HFhOe2qfvVvWes0IQc9UbpJ/HwAZuGC2i2gkvyFmqoMngT6vMdJztD4ysvQx/1cLhEvibIdjFfjiYc7OXKLSeV0NFeZhAruStsGq/jySmYDWtkstJc/LySZcTya2o8PpRNWga1WCJSu3kRs7JB8kZphp7Xy4Pd7Tths1Y9W4/y4EfRgAt8C6nXtTFW2oQwCFpjg/GRy/UPsNVVb4YHd2iwbSNaRDrxi1grAwBEHHjNDGVIhbYHCsEWZ6BJB4XLUB0Syjh+yTM6u60MSSjwRT2xOnexYgllAYOW8rFQVFPA721Qtk4QQJjJE1lyZOF10ppj+0tP0PWSkqg6818kG5vnMOpcnmedWL1c/jGvdidyFQOCQ2qpCGop2y6L7YKPfvxqa57kK9PWQzJxS4HWkY8mv/9cB4eh7fiTojERNVADP1PySuJQ9SEAJACFAbXKLX11ljvBs1TS7KdOj1w7zj9arm/ajMxZi3bNlYtl2Z1tYeBE04d89HgRxr7DcU4L69DH6E/hoSx4T/QNaTzgwl89UGF79amgiZc/fhQ07qfVhOPc+mBs+hvfIc5ffBL7Q1mKrrW6hYW6hKwHezkSAhV5gX1t71TQD+oiIng5RLA7vo6M+K3ND4/DKLfW0CknaYW7i8SXMpYvxzhWo1sTZ4wNSur7REyD7Lh9MXgK1asOkpk34zZOSlotV+un6F0jIBL4tocHiJSiRkQUKFEQ+SRV/gF3PI3c6FjM8zLf0zdM9lbul/WLILkwFCHDagwjh1tyiQ2IqLBk1pVsvji/bys/zFraoN7a87I2++dfzwOjQ5B5eExCU9OhjRNtSEhuJ3A/FGmeCiReThMQe6qBERFyExua6ifePWiXykWojesg2SPB8ee15GRjiqtQiESUd1DL6FJK6/OatQ+nHiwqfEVpK9Tmgn0jb19lMfWqBcdhXP7cMKOo/7GpDDzgsw0Wkur7MiZEtS3H08NvPjim0OdEXyQXOrqW+MW5U1nakn707MOZp4vSpnFNv1wOWrX5ZWLvIjxs1JOwY5RPPqb9bRhVkq+lOw6Kz94u2mF4VblRv7Gmf507jC3gMAk8QA6X8QEzY0cUeGW61dMM/BbKgGTkImj4WpbPNDyFk0rhfhSE1HLtvdu2ilM4LdaqScnfvJHs3ryWhgRDnv1mOsj97hotnjmwhqLWZBGg6X0EMwqpdFxzirLrLK2n3r35ytqA+rvS8twWNvkJvlUPxeYL0qZgmOxDL+uKxWhrD3N0+jEwiXpbafsz0nZoa83eOzJSZmqPURNSuOEC89RPXMKMAANpSt9RpD/WzdnwSazHt4EgtQQPB7FDeIdLqoX9oH8L8ikB3+8afNooa2iI0oLGA1DSd5FF1ZU+o3QcawAwHb3FFxeENxa6rW8xtfTzcyZkMeZEmynbPXz39sKXLnrB3tHOHQRaMIuWMzW7XTutKxGBMPqRTF8iOAHZw+8/kg0DvEHTTBDo5Vq6U6j9baTYr7DyC1aZrslseo/Tq//QfVsDpo8vrShYokQGvSIIH3XdUmbY/AXhiu+8RJdh8Ut6XiVaTQ6nOZ1+AT2pJw0Xty9LtUFELN1cw0FxEKSWlUQqJoz7f9aS2bxP97EA/TchKUMA2SGIhafI7s3okttjVsavpM7KPEvFvdZkWqdwT0YUAhuUAjYbz9WvEld+wmZvKd3FQmrIJVa1QxbpfQQRq4fro42Ct1xH0Ggfih37A5804PK7sRX+RhkwK5kw2XPL9vGVJIarbXuepbPzdA1LEPt9UN1nTYmE4CRxGZry7mOAnPXkmwYM45ylpaT4mKQe2qv7F9ryg0CB2K8+nlbJAhBR/G4164qZaQYgO6v6FlbW3EemaMXLOMVhrfRXQmB+os67Cq4LSDOAY+7lrOXoALQEvANOR9gTi6M29i6M0lMTsKMGe0Jl/D0U3hG/k8rOoGgNDm2jHBvyHq1Dv3U27x2o9jvf6PbfZzhwfZ8PkJhnrXPMkhaHIIgbKnG+bA9gmOnXprOOTJCprBf5aDSbUTj10wa7bOrImP82bIvITTq7Up3EaZBdrhjskJMyK7nkdIxvfPMcpzSM8LivXsoXX4B/KxgTUKmie4AnhAAVFTdPM/LlpkmfN8JHAqPFgOrK9czwSMsDkg/HaX2e6I4yPvgU4hen4jXIvNAN+HHHupeJSuefD9tTGCbBqAdiIwJ4PNe+vXBnVyH9SKEtYpM6EdBgFyf3P7X3MJq7QJz1wziUzvpewKrGUkq4IGPZ1L4hsnbchMKz/olwFdXCjjd9E+yjsqVSQWDlHub7pCirxqOzy3yesRHtX//bWUuE1UpPrP+JmfVWooQF/hT4SHZ+7FduZfJzXV40guGEIGymsn75C5S/oRPbZ4EulnaekvGtquI1o1dAWXvN06td77tUqGSIBLsIVcNoPkVul1bRwHWbH0+qDyR4TI0QVLaEZtb+MAxtCND7B+xpZyu02Cu32Ebc2OqZsvAnsFu+SxBjwXuaHvfvVkxtCcGqj9SOOHfDAsNzUNTAJ845TRA4t5uayb2xrhUCLwT+PXSYEZjcJ/irYLKAqJ/4q0MwLJSi9hDm2bff9oGxRI23q+8McHT8szo/d4LObpznN+a2DsOjwlIz4WNAL71mpUWin3LCQSabid1tiZ9JOK4VxmGzP3/Ib368cvwRz0S5XmZVIy7PK3n8qTjJDbaBHNoZXvafjWpXwN7Wo8GcDYCL8h7upYIgwOFKneoW6BY6N/qkTeu61I3mJ6EUohGaSIAqWIor834Py2a9nD/xHfazFY9K0fXiQOFXU0u0IepHFCemiJC/atgR8Y1KDc3cAs1fQ9zf8eNW01PNjr/DrK++p7wAaxjHN+B2OxLRn+qFHrYFPNMpbm8XMDZLYMU6afuMlR7DWTG6tGckXusPf3ET/AKqCHp+mHUNpkDAFCBBH/KWbo9VGhVNAzgr6QQRIH8DqsRYqA6pTRk32AN6Ra83EzbwMmLqCudGe4DOkIEZOa1rhYMhh1P3lcPn7E5h1bglhzxMWJW5G/FjWOe/ophoM2BQcTOGRAmpFd/YczbUSXoOlL+5TRLXpCznkes+PgRHWZVVV3LXbthR2MovfcTyJ1LFBmMdWqzFb76fbMqX1wmPIvn9fD0wMYPJp1J2wLSk7qADI6kMzehV/E3rFo5PjWbpS4LSOhCO4F/tPdOEBHpY8jkSaMzeskiATb+3GXbZ8yfRdcu1WxeFWbj7IouLuDNLDMzXVICBRPom6zZnxsXCxnTEm/xR1WPhaffNwAI2lUL1zRZt3LKHpBzIUrk51LlABGbWL/bxEe3BuImYvklaaQoC7etQZQDJprpJoHPSrHhGREd5+Ih8dtZMrIxUu791ZmPPfJMEKG2hSYNoM6jENgXzgeBzPwsUnkTBo/U9MQuJzwSdiZdzrEnXLqlORcSQVsEWImkUyh8WLDGahZqCaCU6PLBccW1enC8MNtVGNntS/KCLmpqd2corOfbAiOe9cO1bBUEaCEKMqa7cKdyOHj7NYilqbW8/bRw5r2jSozZI+bcbycOY7J70a4UOg5pwMs+6ggVnGDBIx8vmBnllXtvLbMLR1BSXbAFU8rNP44+wh9kalskT2NR6KXA19B/ATBJumyRjc6rU/61irq3fkb1dNHx/m1Q0oxB8ypbI3yd8s/aY2yXqh5m+co8SzWLEJr/AcdFjUAFidLFlTTGJ+aKtm4zjOqOdGTRRfqUbiZeB4kKyI9uIlz7/fEgP0EyKtCPg6AMt6TSnPiXF79EFMiKalQHVvgeR6nNs25l0jsJ6NaBWk7R5O/KUXvRhwsBVc5ePHZF+7/eAWA/VgLe9ogWo7xL2C12fmXjE9arU1FWsNoHBI8uZq9ZGMBJ3ee9b53oOAwySuZwpeMX2h9GALgjMaPgapJdtDJD7meqh4X+1R/NJxPdHr9ZRPbnTXpLhEZYAQxmZ35Xg2uMGi5ZthF+7fgMgMadq9jVlLrZnRe4Vqqpir+nZrXE9ryFlLvM/BjTyfFMj9LL0IK1s9pHuCucxutB7wV1HoArGqgDQv/RgVjAwxuZ43TnRiXnrSx/Xh9crm2V/YhhrsBgPUpXWVlMQeE7zTTxSjjOR/E6R00u786V21V9/wWFnY7yJKSwPZfPwekTmfLootSt1DxU2pcF7dc2QxSIpVteu7BBVKuICORpkJKCztyrVSaQ7fUsfohFli2BLvMowRzoGu/fuI6f8VFxuIk18hs9tTljje/n3z3svQH+obW155lt6FMDxy+nCtuN+8ChyMZbMjfVve0iHBPWGkCmDgRMkKvre9a8VgJM4sFnz2SrjFxcfxM9pEJcrcVWZZYxH38ZBd5eq3eILOjdCodXF1ae25YSxKVa66CEA6cN64kqf413RP0A66mgU+8S1ALEE9U9j0ZEigBMSnKJWk0O20f7n2skUAkLC5S3J2sL4gfI6yaL5/6StJuaX98ogbXauwTZJs//ts7rRerTsMbKz2fzt1ZcJ1aq9RVG/WGXyMvBy7Y3L2Dh+VC8jewWO82Qx6CGBL+Uua2ICta8E2sPTwbIO3TWRPXn//Oz/bCIRyiVY5OtuSeUMs1l4sF7O3re1BfBr9N1xpAgN1mrjGDBBOlI2OedZHM7DzRPP1gSySy81Nhc3Jrl/PdcbQD8JznkQQaepBkZDB3eRGNH/CdhnUuTC0cUAbI8zkdVVIbgUTAtANuI18LXVCfs8GmTVMC+gd18a1aN8AUCAtoBlw2ORTStq0euUqGC3myN2ns4APIlydH5wF0t8/T0s6G1CsmK+TmQrdgLw5S4zkJVnIhe8VzDclIRzfkU8cFq9O2oBWJK0qhzuQBHNqIHg6gH9+su6guqIan04eqQbttg91nNHQZxCPZIVWS542WK74SmZu59m9V23w4Chy2XcCcDJX72asEXweFT63AVosIFGegmQQMQhgiHZoPpMV1nmTHbTH0jYW6ChjL4QQgtx8GKeEHYba29SguLO18yiX2/8iwNHD2hpLx1i/Xu4rXwxP23IYyZ7xLrxSVWqLm4zJT+eSHVLK0ZGq9CJDrzFwURf6KsOY8yb/tpqnPcKy223IB/b1RBSXehzPQ+O02+pd4N7o6eAnbYaC9X8nYa4m/nkpi5PONSjGR+YnSoUBFYkRg6Eud5LeGoe0h2ZwpS8a+s1Ox3SFN3BvI0jiBXMb3A3GkNRtwOGdURquosC6nmT6zhNCfTmn8cg7oSrZgYg2vj/XgipFEzvmpRkFv1Qh6vLuUDct8LCM95VA1NPUWZjsCPhoXDNzjF1Bj7MFHzFuhTvBEuGsmXk0UxnuDWK0a2uQ5cGn4+Ij/NG8z+SM911vYNpcTJXxyOPIVCJ/t3pgoRWXOQq3rLxAmgr27vintZTVs2BBZ37a+xJJ4FffUCIX0JntrnRUsay2XbCaObgrXspqdsH1fGb3zEuWKHMzOPoT1zrsdg0sKZ4/xAVyIYXyBm2TIICRAwjU8iXleDWhEKEP4oJ3gWyNigmRlmJPpRcdvMfJiWDYxiYJvtJmI28jtGvnv88Z4wVUaTn5FgTNDG7pS7NaN0DeeDKNJS0l/nKLsyw/roE+Ag82wb37NCyT9DVVoaXGi6j7tFlT487ekvAbwutWfTh7rfXEOMis+vDbxd3xciPlxfYnY756mUjCfl/H6fzYIwgF1Dy+G41aJ3PMkcFVfsVm0tsqsB1ZpdDLdYEOoX8sPJHpQWfvdXQxNVzjmWUtwnDwDpTDzqZNRWqZJW7NqqGgCz5xVlkUtvziyPjqjWeVUgd3IsR+wIbD/gZ0bn5L3UfuD0uoCc4cgUeuvmGQwkHg3TB7N48D8K52pC6nKqCzzzwRYh2ywXADmmQrfC9BEtSlo+1G237cpp5YxOzSM2k6P3bta9CMlGNntByVV8zMCIo5KFdh+Dq4qExq/CV8jXdR1eJbSyCd9bI1DiroNZVsXkKFA5jxirAX6WUMt13Fi4d3E8idhWIOJ2CJUaPlm646ZpEzGBBmIAxKG8zqoTNG5GC3bb5riJ9MBXzsGh/OWu0HqZentcKYph9lgHyTsPAQ1ay1U/qRQDwXocwFdTVNMXZhpxwt6j//hHkFzCRVSx3KTxlhcAj62pRXIDJdBi3bFfzYVz55QbU4zCY3TljyFxXU3kzFbIB6A7ZR1Y6TeoyDRti9WqQ2uS5vHgM5d4KE6hvFUg7hPu5NjKQGFjUUhBq1vCcxMmhQxTHUesqLhqKhAtRlYfLxOg8Xp0ijYmutnYjLa0RgpbT7yevhvbfSlZWGd2ql7LxEa16fsQaoASGaDj7YtYSFwh4SlPJpMzpt3uD16DkBpGU7Lg0Iex044mXJ4lU/OZtZkeozCX67k27y8v+NjsLfLTzua8/usPfM88xkVtfXIIcAS6Kxlr7OXxUqqjvGvhqg/9r9I+S9X1lbZWLs5yIr1T31tFPMD/0+5Jti5daI5IOlcaPhJaTovC1PIvK7EqKc8LEwKuTETSwtc/TDKEkuPiNAAaeaNLGCRE3CNaR3FXoE2kyT2ULEVO2H6fJMoSfQNpX/8nKrlezzf44b+pwFsycGXYxOeFQAcI1rU6kOzdq86y4P6lGNF+QO65XydqBcrJ7G+z4gMKt4Wln/X/Xa/GuxigGtCrAOQw0rvtyUrRVvlkbsKfg8P/bZsQFDyY5oqrHLu8tN7wXLH8A+iteyIL/l91Gh6/VNlCbTZ3I7jdhT0t7l4LUFMn1pgRNST9wLeUsTeBXfhpzigeDszUR4VLJGUhkBuDooLlIeQRalMa1xA0E1VVCFbbs6b94ZGx1vLPtA5/59bd74j8B+NHhBcuNwh5DsFjf2nFgIa2GmX5IGIZwqCdxaOFSN6RUNroyUX0ccDEx8L5gPm6igRDG0Onp4rSZn5/jTMjvIjJFv1glejU0JvAI8ihVPylRhvp63mf+/+3m04ByN9WSd2SxSIX/fsLqNKFQY7ncx8bXNbG3vIp8P5FsmL5860A33yL85GBrP6bwzET7oDmqxSG3aEnWt1C/xCqg2k+wr07Gt0aRgsBhpRYJ6atLncV5AczAzwspJO1OEsXethodylHdBG5POwI0ca1rQHAuKBk2+YnR3GZtoqalyJZb0F1DftdiQoN9TzD6l1Ch6s9sr4TBIutsmxvuc2JSnqhX27w9XgOxwnGpwMiDRXJU0Qmwsb96wfaj7DXVLGsSamJWnSAv/BQboUlN7LbvjM9jRd33gK9VZ+7Gjwuu/Btx0UxaWld/GGKQ1wu944/mREVCYps5FO25SBRFTN6QIoqtymE8dP5rK7JjjokzEWkUH/ILzCVBqvjF2HBXxgkM7q1Lz8C8InvXc6sBQah9aZOCt2Vz8QPrsgNB3dU7RoVr0Tea6miOrhPRKKgxTBsaSUwno/0eAXTGrrCWJQR4MlzYSKSSo6i7G1p2avKGhA/ePAq/2kb6vbkxWfwUrubLFbB4VkmzkBYWQ9YJaYMS13sVPt8lseCFD6PolKL63sOFlKfUUXSQK7QsT/i+t0gE6L+YUQEtp/aPe/CVGSjuvbxgjMlIVhGJEUvOcsar6gzKFmXnQ99+IgHFDR7fVi5NT2Nnc8OvowNzdHQIBQ5hBm18QfU7uja3FVoTkWYpZTgPbNaAg47qa/k/RoDEaCIeLdKZjlryfhglBr+O/uvHzNv9qIOpo610afoQvTg4TpgStkHq3mn/VbljWLtKcdNlfWQyIYstNRUXuaeGVdX1SvpF4X3F5OhrODi7VpG3RjxUBXCAEDh9BQHmhhdmqo0BEzfvME+gtkV9H09bJm0GRXIKRetyl5lFW/3xS04F6SwFEwyq+ZVvM5Oby+HqXWWO6GFoDqi8k1DZBA+5ProQaCHvErzVJk7bDwjOjpZaiZ8/NhZSpce0Pgw9tWzxbi5rTfS+0UiaIxFTbbhafq148YborZCkheKJyqcS7Xgg2XI8xSxsWiEgzOL0G+C0uSjU4Jpd1u/3w4tng9znO0onm5gNZg8GED1ypWhFvVvaGzWe9nYucqUoE5FZk2FoBSrVbs4BYQspAp9i9Z0Yt3efKvgytzj3shJFJoHWJ/ioz4nCa/IZhA6zMFMjIkCMnkNzUx82rB5ATuYn1SJ86ROOY9xzA8c3yxvKLnXAjo+8zliXJL1ZLtQD4tDkCi7hYcy4Or7AiTCobHVQLx7Og5Cq51Wq69q6Ly94nAlTOo5utcdW5lWAAiOesiCTRr3GbCVhjjDFWa8yQ1QUubD2D4B127B0BKi8yj+iWqsTHHSjCFNj04IkhtldTB1NDP3K+OVQoXoxyT0V0BAerj1y7+tiq9FKMa2nVeks8ckFeV+Z6G1Aq2LReclbfFsvSxDUtNpwc9PQT0MOtXr/mq2URkYhIaz4eKsjaKTWns5IxgY67rORGcKhhTUsqf7xDaqsaTrB5jN6w8UugevMxyu92QKGABc2wCBHRGu3RjbQ2LGlOqceTmV7wdWAwwJJ+2j2crZBhZeUne4MzlZaH42ASnaq/feMcaHkVQq12rF2NkcdlKtjb8O34b2tNiHxWomJeyaSv/CzsaEjykN/Ido05J8YMWdxcBHLEQFaooaVs3lmjnVpXaNGDsnUNydmHOivi5HQu8NchVHHIzdgA+YaPGp1VtoBt+g1qZki6ptAhxZw0T0rXloRQCP64ZeafpkhP1IKF7+ZsZPjVpbt2DPdwCfAXMcdFdOW1IA0ZUXnRUt2qHhEUjfiOmFmuyfA5THFD7KJZk/XeNL3XS/ZiUGyjBiTwkVA8KkV5zowxL7dMRgzAYx3u+n9XVhqwoEnoKkr0e3nnGgPhB+eqH/vzPXj1cXSJFbQ+Jo/Q+WMoejcYq373zOvAkOPwqRzi9by8Wm+lbKFFTGy7Iy7WI+PDtfjqQE4W9CMnbY24UlAiGVapBk/8zOkzG4njGL/hEp/3LNCPYxusDR+jjOqSs7yhCC3jiXACAar4ydf/gQnMvIMrHe5a4U0ZSs4AI+lpjjjZfWvrPIvHI95TkcWosT4vB158zVUgDUUK/wcUfoVAovrUmWvNwOqhrg5L68JFAyj8ZissY893qFTfyGyLNRY+GhqwBkhJYe2sdZwsXyS57Hs2JsTV/ZPObHuQoXnEncVKPrCB6vU7QDidnWuBuF6e6iQniJZHg00NWD08aE1gnp7+7XvLDLwfc9rHDfrmwniPIlYDkm1YgxrIJ9DoHN2MbHZhCWLgB+obw2TJnCYKUXRTeiCHfxrPYiaB0p7ot7mH5G6YOimEfe90HaqZQAba6Px6oCZxSdyGLgAOTxP52HnJLIgoh0sPLM1dY6zKRvY7D/R2orYaPZH6FshrpzTfKnOlvN29LSXei7yb+N8sEvCnwtk6xnJuFz7RvQoKT5B+pnfbk/2Iq+DDb+az0Sso6AlQQppdAcIG4y1Z+tV4iKaitSZF1Q9bWB64Rv2tLQ1UuxDRz4C5qO7sXlY6UPc7m84PwezhuC7lzJikjTTlNIyqAHce748RzIboIZjYVWMaHqL9napVOu+2P3jL2pEaZsXiGmguGKpEQ6v0ROecFOYE/qTMLroCJQE2vImplaS0ZciE3jqJR+e3tIu/YwLUBk8MgxQJMxR5/uN6e7eS4Ebx4CGEsN3/RjfYq4GwavOXfN/NVbL9F8GYEkti//QBsnfFDBBe90Dxow9pqxgjFl8VlXjWofFQSCjyh3YL/LzBbkjHETCkcaNNf9KpyknEJ6EriiMyzabrMdSby1qyE2udvnSHAU/FdKaJ9QbOIxrxML/0hJoBh7DT3ewhOCSFa3x9TtlLbAlCYyoFJI+ZnYwbQtvvYBKp0+ABYFhkmrZfhAR50ux7atjgmsK7BSjOdgi7qJroyStAe0WnLBlz6zyZCrLRuGiWFQRjQjlkC5uHo4cd7uHt0isCmcamXGOgyXVL2jvd+vbu/cGHfmGTOwRM3LJYyh/CybPd/Vec2/ariYBhP/jYj02ZNtCj/z0w8SqFZ0FJNAuVSwxmgWFY3op/lEXCke2iXttukFDAHxt8zsXi6LgsA1RaB7TUQpbIu7/hti8v0P8Mj0YDZwSO82dupT4Lhamk3n4YihVIJ5zzLJdPud9gYd7H+Il4GxJmH7mci85BIlSjy6rBuOfTZ4KqNSY7VxyMSsitZoAG8xU0AkSGLawO6EUgGwIOUmLaq4u8P7QnHLKvd82pqZtmehl3tP/A3WUgPTGG7dbN6Db4QS+ZvAmCIU4KIhuftUgFI0oir2iHMbfX1fQG+Phi8tpE1+XdjKaD+4atzscT69/VlXTuQNDM/jupNwxoGFxxgfxuHBu3f4EiJ6RHabAD8wJ3nvfBPY7yU9PVQLFwSksF4vty3HVJu0n+rXmZ8GKoRgSHG3nrlFHa6Q5xW8tYG6P3OAywJ0DLScSf7l/nngVwS/OS3w5Zgyvpqgif+L9Fsh0s05eeTPqChSk3976jh1cE5tX9DxwFhz1keY1RBhVXfy11DVqDJwRGlW/FvP88q+bIuIBo1nnI2cFzIMFbZojm8nU1uJxCsBBaaiwhoZBK5p886yc6WIiGrv49KlMxO8oOeb4B49dOYzAC2eZRYowDt2EqNePf08VZdegGjkMc0HrqS8e568TGcAi/Q2D1tkBlONL2FQL3vrK6KvNJ7a41QJRT0RyrxzZDxRYd17LCLGqJPE1h5iS5mpVzG+ZjNol8SxWbzKZQ8CsZC/7292+vnOlSeZi2KDLhVm+xsq926wo13nb3w0IUEeNnAddyZ4yVv3YHYCsFUuR1Dlb9N6PutliJ5leeV+bHrilK6TFjWU4ic0T2jqTGpFBy+odE8a922DbB8btUj84EMgYtjWWDuDjH7YJGOl3iwEUi8uvoIbTY22Br7dyscMLYlSl6Ca0QzP6+hKw4wGhGue6u2Eek/CKo6UKuLErkRxKM3I2yhoymnJWpRvCcm+gA1vpj38pnXEUP40ejCwZP4az1nFH2/mo1L0ZQMdzOVwOzMVTJgTUPdSdGnAwLS49W4j2X+1SF3a++sJVMyHBdOMhzGKsQ97UefItsmLztVD82eLrDGNNiRD11+3qLM+xG6xVIZLi9X5D4+h790FjH9FHft7UUtty0pVidyx40HdMWmiVfDASTiQH4KmSHEst9esr+5leAf0O4i1DgOp+KPYExMdylePYP3IBec3OBMdF7qoJ51vuE64PCL1Rndo0lVSFjT5S/l4maFNo/X6hh5dSv9ZFy3IMb6UGyBdjEn3hbdGdlE29SDe20F3MiVtu56QPY3e1FlXoxEskGYZi8cZvFwbUf3uDhHbiyIqvgILO3zQT1QIVLfxP43660QLmGgpTpqhjt+LjszSv08Y3TsnMPRhFG9nv1NEUssjdPFsdVL5JtAy22dSEdHMg521yj234mAU8uKfMtHqFP4wh5MzFxqT1i/BSolERTu054gg7hEsU60gmtxYUtII82boCQ/QNPjYQzy7ORWt2DvWx7Mt9VFV9NRQsGWfbWOxhz4wlXyY8CtBf5KW3nuR5juuHu7eFnM52XhJTw/I0Su48jny4EP8H+Mft6wshnB57Jg3MHGkkqkEw80YR2TUhJ8lYSefZ6t09CGFeCsI8fdiU2iFnwkCuKMcF+dxBlgMiTeTQ67aNd2yWzjbxuNZFegLjRu6vJjutV1eOj7xpSYe4+fcYcgLh0G6/aDBcrtT1xcQt4f3Jzr7HdQwsRamDl3ajx2fkgSUoem1LjJsJMaUzA1fF04fjR8jsMBhWJBrnCFwyoU8nkUMtBcwjEJdKUZgFe4B5L6MyjIdZKg1ljIq7STWbE1vBFn7n8Og/1JCPGZJmuifwu+E9PS5wftgtppTDP3Di94jv4m8334mBFbDY7zem566ssR+i+zSWmncuFBV+wYWNR8kx6SwPCVrXcCrdNDHzNZ+B7NWp+zAnDDZDPEB44s3roeH1IbFfg+sBwY6yRiOQv+Yp3v0lWu0V3mmXR3SUPHjDGKeYOGe11dPenNu4lV93RqflUrhTMUHBHGi9HoU4XT2pkD4tkxQotPa8alqA/fSVsuU/HWRyY8FMB/i3RoC1U6RLynqnF1wdjdhKbsZQcgqeHGUbyDkucBWmlnV/OkRUcjjBlt63dXtPAZOjaepzVC4kzAH0Q5fc5mdg5N09u9mfbLIJv7G/wLm/GgQD8vNuelgKQGVJIE/EQMeiWfxUAWQrQRk7jL7TiGGcAqkhkO+YjTAQG8jK8R9NW4dCIeUsreazzFiPKy39vSwDLtzUZZDLTUc2q0Jx8fGru+aCw/GuHCTNkwoMbCw4aQMiwSroAWtpmXnIcF+TakqyDO1bXRzFNfp75KHDDw827a0ee8mz3d9B3f50QfSlYwgxUrupXbHb8iFnr1hkZuqp9kI5CVmu4uYTDjL9lb2wf2ZSdNuG08FN5SKpv0yH0Vsk9+UhYNUrZAhTRio/LO9sa50MYz9NeZ2qdc2iQ3O0UZm0/moWBL0DvvgiQ/tI6e3BT0x+W7eecxo2Wf9dyNTI4cBKPp8iAxAKMopTnuj/rzJwYap3qFLA41j+RDwG6zFW0iqsT2CwLvt6rxhCek+lhvfHw+3wjtQpNWHMnuYaV/nQYwTFGN/h8vWf8gPw1wlH1Wud0WjgaNxanO2EXYL35noOUfI6tTnb9mN918jRXnuaZQCCpJFGAY8l3jm83a+hWlWtsBhlh06UawHNJZKebCEuzm2NjvOMS3NrwowwI0JtGF39upf3lA1gqtNa049bM44/nYEhW128hQC9W3ZqcfBexIg0kPE4riUdMwp6pnoOMSZYZjAU9hOEKa5NB4eHGw1M44uyUWejFAjH9UmVa9MAeBkPQ/XZC4bto/NRPWrvZT7o2wLzISX52/+G975+dpWYRkKzDB33x10JKbVtwcvfgahTfclL39MQ1+xkfF4uUfv28h7soScg1C2ck1YMMZb40kXDqpm0PDBs9nr9gckWqKMCpIDal6gkwURPZ4OKz3AJHe1ycFMK2m9O/G7hvYN6kf7ruD6zAO235mw/QXH7che2rMhti2ewfZZD53/Sz6sTbPxT8G21kTQLR+iEWltWJ9Ccz5KqIGjM/Jq5dYgZAsfMe94XtUGz8qhP/03192Z5CTh23EhaVwiFUb3i+jJDYHb0kF6Dal/P9W6DWXFH1wzrhyuzq4hNpRCYKVz5O0mOLT84lPAMPS7uThQFkbveEoErwUc2lIh9PradHI1mXWUHqFAyihHL3Zesa75/hnwoA6H4wcd+eTpco8SjAVU61BWxVeoHnsuTY1fTU50YePFDD765lylRR7VDqY4rdKTAVDOna+xgvQFpSZTW91m0VBXnlqHUo6dh19j8y/SV5ZCN+chph7ItT/Uzok1F2SR0smQm3Ww7Y2TgPseZ1Gddluo/qVi3nkVjBRlQHidvToThT4XDCEEiuS+ZXiBgCg8ekkCtB1RATe+q6noegNEJDmqmido6oK3UFG2uA69kmAkZqHF1qAUmGfrE+modaCkIyPwvZSwLeYPG+kHoxHAIFn/moZTXqa1TYzvvwGGwwr3XyzD/12d6ORez6UjaVQaN5XbIdVO/mC2MNwf4FdX5GyDOgcVbQXIxCtgWdcYf2pvBSfBvko6ILu904oGMQNjF4kt16O6jhvG2ceLyDjS0Z9B/6sfL397rzBGb98CMDE8Wl0oBxXvdzil4tfrckdZUWdfeSQSx19nkQOvjxjF8iQ8Ms42zKil7hTT+vQeqlxzgn5ct4Ygv6JTu0l7jXlOoYdbK/1FqLSTBiaj0hJ3anstj7GEVNt5OWqjM3Sbpmze06OdQPSNnWKyuWan/cyg8exN10ZZj9HomB+10qzwUhuT6XYhc6tqJOSYA86PWPgLdqFY0xbFMmKu7wWqCp6rrMtnb+xoP3ERyxOT4cObtqN6QOMO75vIn+Wn8nbMV0u2SE8gXVVCTRiCbGuHrbvH4p8uQi/YHARozHLQ/4M52X1vPErx4o2aTu2xeKmN/dNjyj+fO8Bg94uwhF3T63HV5r5J1CrU3INwbPqE7rApAmmQN3fVJ/yBmpc9fCuHYVcCq8d1f+LrLHx6sJq9LlbfAQsvRxqeAC4mhpE5Hnyl+7j3EYoRIxs/oyp/DwkRI4n5o7Sw5MldV6fH6QdiLUb87ZM7/da4gF7HA6Tc3aJydM0TfwEvLYahMZDN4LQV4wJtxcvkvBfKJpFOaMG2KAAU6+4DoMreeavyJcNKG8woL579sPvl3t1l4pxrc2FqmQvEZxVuXPYKwO1jmK+bg9JV015GTvoJgHwcGpZpzjIocEPTDFSvIqflarTqer+laBWaYZxsZ2NGQ0DDlejpdpa7Gu/n+tCY46TtrBWgLaj2NDc83OncEdoto0HeAsIgzpLwNuDY3ClF+nIjIKTfoQb2bngo8yE7oIsaf/KZdFbda0I5RPiwS8z82tw+ZVLZhlfj7TD8Xxe0IkL4gWKxHTlnKedTpsV0HOGP2w0Qj98HmpmGjqNYvjCLUOR9yCTUy9Wyu0E3jly0tNBgLaKDc5iaJX1PbDCB+Ow6PcT754OB/hQfUbucBpHMajcUkfiWsTglPU0ovZ83GjhgJ1OJHHM5HXBcYYb7ZIeiqq3BnSQUCr/pcL9aoVITUvSTkUO00W2tsPWiANZWpDL8L7TudY534TVjMcm8JWn8AHOktvgmg79UcpyKXqHRSYc+7sVUsYjcP+MA6HW9h7uD1zsKM6shdR7OrWjv9XLhi8aRqX6HaKJru60Ab4ii5MuesJ9dleZiC70hkEth6D32OtJ/v7S2kbqiTE4kdktnhElJV0XP91RPidxJDBWys+/nOJ81CgLJmPL8LfmEzkrkVcJbvIVzKaphczsbdt6xjraKWaJn7tRAnBlaIsB5WhBgOoe4JXLjBz49RkoWRCWNlJd5JZpnVMZti4O+76zmC4OAY+OEt6093fqgf/tAZl2fO6TwkJe2ctQb93Q5NQNwtIj6QuC2mHLBgZ2Sa+0Ge4WABGmoi1uhOYdmSOqecsP18GcNWDn7DX7j2i435l89PRSs13nuEZ9ibwxF5I8Bovf7PZC0IpxOGNSHRm+5rIK0aFVMd5+mofGLzMN0GHTSFUxKabhR8sHDrq4Bv/ewssT7A7Xar8iJDQEqH3PiJfERzImClypJOtlSUk03EBGEzRHyZlIC4yV7b4Bv0pacv18Cwj3KJF01lYJDjQnKxw3OrDah2UY5YtUsWlEgzyMbKPATsy9bzCQAdyGy6dvsEwpseNCNXwYR8dHCxyMOutXqcDAAu8KQsVy9cIYmaB/XJFuNHvpPYmwJNNULSpLNLRe2I32H2ArCwENDJi/6io7uJ6wPTB1PqrRItscbd4ZJrg4gLkLel51PaFAx147qSqbQ1zK8ENockQ2f+JDizhzbKnm3MBb9PX4uMLMglwEIZmbPCQva3AUIBFUWwmGFafMheWnXBwIbqzikaqiMAQIWdzcoUpCcefLCRBVHeYE6sVIZVQ3FFh6L4QT4OVUB3LBoHgB/m9VieRTjbvAhzA3mOD0aQPIbyuNeBg/rl3Bhw3ogJV06mnmY5sg9wwuabTbGvO76UTucB59c/awC8UFc3lPVEOpruvmrNv0vUw6/ctWnttm3hkAj+B7ozISWMrSJHsZkCln/XPBJ3619up57t6gz+p5TRals1pr5CcHLvD4Zjb8nbgA04Bzk9UtSAGbNNsQevhcD9Y0vW5bsQPBODdHpChiMRCqtqgvbFjDpS/7R3xhQPBkORAfSw9umeTn7nXv+TUBKsE/b39rvH33e+ApUhpPmmZLHVaY//pKDNp7BAwzYCmnP8z65raiju9fDJUFH7optJIM2RGefD4fAVZFlQ8hzWmYqc3fjvolwBDnOLA8S7pJAu1vcPlbyrwrp4gNfqzH7v+/OqETeJ70KJQBN1NJtDBxXaut+Igv7x2KTDWBeZu+EhnjK/SeLego9hLs63Lh1n3pmlrI6Gz7nP0gjaq3rEeUFpnlK/xeXZAZbKfmzF3ugNaOBcchy6o2D0DRTP49jzOyNrhqVbrR0i6DembV6gNKER3oCqBNATBzKcaIEjR8o5wvSEbPpSiK3zreFJl1w2Py2IGW9YLL2Vj2Iv+dshGuKgoWosZP+vLR4VlwFDhHSD5RX/3GQ8miP7ZbZZnd6fNqckARI1h31TntroaaBktFEFaJJ3iKvd7PB+qEngVvEFlMQzs1TtqUFx9+0XA+nL57KN3hV/U/P2lTwGti2OnDXCqUTymG3rIKD8Y7jzLb0FBpZGoDozxIRcJcYWb1ZgW3efvSaHZWCFhmmfBU1OI2WxgG/t1+LNe0O4XKaWYgAvsRe0oavafJ4q5ui0s9nt9imC2/xY4UO/xDHs9EsbyqTn7Uu1FyNhgNYNVKJmbaUuosehqpwdUuljrvA4IJ/qEF+zjMoW0GprMePIz1+cesPXLFqW5MEFzq9WMHKZqvCMmqjl1pu/+0cwz6ac5h1jSomGZ6qCa4KXW3nGJyPHG1eorKZk3Qy8qz2p3ZVPWBn8jScOh3zUfbK5f4hZ8mZxgTnI1SvUgzR39SHQdiKzsnAmX3SEyhPC2v76k1H65SHVKIjKOWQMREIjXN8o+Eb92WxohvYQCmC6UNFcZYXVZ2Qz1ky3ceB4wpqHgOZ8mY+gIV/EQcyZLW9B5jADEfcyefiftgQapEELlB0P59UFUUJDxn59vYeT434VlLUTq5WJkWnJfSbewzazJM2PweTTex7hJ+aQqrV9LARx3rhfVohwNIRl5uCvEUrZ8PrcyfyQoPKyH2HNJG7B/Lf0kbfk8nI6bYQD+ufish9++Owq5BuDhl9+LzRq5E78QxMMlip2l0g6XFOsI1eeCGrbFeLzO9jdAKHTKtVGyyKnqNw/UWKgCdCeBUhCh49oBKByTPFqNylT1rkLbRgshbvid75FOas5Sd4Tv/KxPfFDZFBrHF1MDS3GovQAZur8Vo01IHFhqHGUXxm40TGAmkDiLxkakVmxFE1Q29wKVyGyBvd7KBUMstPSB7Dpz6jn7oIYL88T/rYXAt/M6WjfOByXvMzqdpkT6ErB2jiwp6lVtlQeooVH4FBzAgZh6YIup2NkU4Sm8A7wUqP43Drnq6tqjQgaeiIhQbzTvpY0nxsDIdLuzKJ3+hUF0P0+bvWLPHcGjRysj7vpC7UStTzYjmuSyag4hMTDnoxTTo4DtP0WBOSV40yx3H6ZObWxFw+jYq/w5btx7gqciMjF72uirm7ncAOPcHo11+UioXZT08SBE5BuwYxTfcgJsyCtTkiHKaIE7aQTg0kldgDPjlJ3c051JZeB2jazXfWuIjAHAI0YFdrQkXNwIcGtRlQV/t/HtWdrQXxIZ37lRGjmCo2hK2IanoDVm5fmF3D7KvwNsJIl0fhSTj+HOuQISgxaSmZIQ6NQCpXr7nlOFLxvXP/xkRjdse+KXNPRc5z81E+K2elyUzLsczLQplY40/mqZ3I6LzqjruqjHMNtq94kqMRvOMehYrfQNcnmDVp9lK2KDJA1MDjZFcQjXLxwQ8eAEbsSh9ixkVzr/j6HnhrLznwbDqg+hWEoyFAuTDQUxZpfAAFRTCu24GlTjRFkEy2+v9iSVuh11alZNlDpHzvdk0ZquLMitxunGhpgqQ8ntfUHBllfM7e/uZlzhLWLbuj0NsElnA1Vxb6N8wT/PjRBZZHDqxrI36bCe5gIdd/g9CTpZZynutcXyjg7w4BlztfVq8Y4AkimEJWx1QaagY9YpRAUpdi47T8OhMrF2nwk2RbyP7n97OYQJUM/XBTKkX8zV9bZ8Y2Kvxbi/ULiT6H6mOkIqVTDev9PNzIQ7GfwiuL0B8u6opeG+ZtWfLESzimIXmwF3XVINmy4PDKZ4Hr8sx7FAwsU0xyq4s2n0+yW5PsjDtNQ6unsdd6lBuAluZijtIfagf976FbQj9tzVqTv2sxnkuoPSOnTB/C7R2GTCSgBOxCCK43fRt71ruZgqEJi5jmJaFn4T71eC9BtS1xuxvOsQ5B6W47+ZKEGF3slLlfhogVVKawSBA9yriqgQhay6Ji2LY2GFvogPFxK0Uzroy/GDaVtj7D6Z+JjMiQZ5BGnT2LSM4sOugPrfhfm5/COLnGXWclbzx5C56Aio9pNAlnKcMjZEGb9mTm5NkYtw6VQwOywDA8eIwWtLS6t4WHlNGRIKyZkkL8bflKcBPx7BqvPdnX0WAXx8WPefcdWg5iDA/X9/yE/hmFK1wG/rHvIDyjse0f5U5N7XcwbyNkc89KpCqWS5DR5TgsOr743fLKXNAvGveRmh9EqIipEPm2apDUDEbCDp4kmoMHnIMA3WJdFu8i+cbP0A+h2YoXBtNYHjBbWIXy2FOFB73ApuAFjntNGHiyOVJFCfkRib9Dv4m46xrFsND2gSd28e4hjlF0lVajLnuSs8BDzwfwz80zZZg0qno2G86lMnh+KyqHkYKtXwwPnxwEvanFmQeJNlrkauV/UReCMRLT8D80YxlEyqGZqcKp3l+VWMRl1GqPMYd+4BAdXQAJXeBu7vHrVI++W/i7kCAIOCNpPF3754YGRYYAwLDMYrplDzqK6TegrgPPkDKXzpKCD6SGwbqFjMScV6leAOg5AWsjH+wFfXaEBnRO9T9ay5uClTeaKbV+uD1Mi3iaDloAfJGIbH8wD9RwRnZP0lwh9ZigS8aSZL84BxNqo9QB+yXyJvptrIrVz+amFUUUJVsVJp3j9lRp96QWOUgP7ozhsygCPjgZQaDnrsu4XWApJO1sXq6mYGND6hh323ffTpfJkapKpqbAZDM3b+SMfqPjsEGiZxFcL505N6PpsXgNSHCC5VCxRLiZ+TZn92I8GmygSKpDyGV5EVoEfVXgOV386aZcwV0NZ/CwYTwQzDynLFRzdLCvmvZorM0rP7Hu4agmigbut6kChVdgnI0FtyVvSI8v7VhgM2iCOHQt+0GIkR0krvS2DuPqFLjDOCVQOWxQKvDcxovrWQ5CaGuaXC3Ek6dXgucCoO3eT/EVuI7ISRnqAM5DD5mjsPqfJCgF+p22/t7C1EQOesgr9CGVaOpZdSlu8SZp8Vw0Dwq0tvrEPYQjKuCpv6LLu1i0r48VUvjnF8xvirPj7RjJbBnicIVDTAMdpBO9gkoQn0zR42HAiW3/7YdijGFRvQGN3JtST75UaDog26F54msd2Vtq0NUKUUJrCg/mAtMfnQpaUoiZDoP7P00gCsws5iTisrqQjrw2x1li9B5GhRLdXj/7OYF7YLKRp5U4UsKSK+nWQ5DTQQ2fhniG3JaR/0hxtnIvwOhe2n1GFB1UMizFoIprlpE6NslO8uN8EVoN7LCwqRA/SKq4+GLTs1AQuwNd67RtlQ9nqGJWLaSjT3r9JoFNN3vp4MTHWpwCuKECRvEcx+32AM/OzJp0lswf+aqhvBeg5qWs/TSMkgYh8xxuB3C+QByP0ZZivAYG8lyIw+Wjx39/oyElmYzYaLQJHzA0VlFXLGSrmZUj2HC5wARNTmAnLA9Bghwsetfypv7yuDEAoz42iuvZYyexCcpM/tEcbI+eP2FOOSDHnPtL/QV7R0jqTad+uYJiunKCgaQb9Gb3nnQ1EbiB6R4jNQnnLRN6JitFMI881zZ8cCqoJY0pGNRIguQeSV5el2wB/kFnEq+VCZig7SMe1TJ5cXUppTQyesZZCyKh/lHvT5B9PCUROV8fr9D1G3HjmTff11EFU52g0cc26i4dFgHCD/3Koho32/aNJlngXxMiLIB6V2CONPzgJB67yBKnvEQ4H6OavZH5iE6c7kbncJCfa68yor7Sn3nryosWfU6mbvvxZzILmdwft9NRS/LAWyvvlpIhCRx9rpB+g8gYwT6Zuz3ykJafW4sIJxaeCOF1PykPF5rQrGBqmLXfp80VNl6ZA/TUxdpwYDuGZbidkR5u/v3+DSahpnBxtMXgeBoQO0zDvDZ+JkHuvjlNVZ7OWPQZ8MSfs8v8WXV7WEWzrveef4LpjpgLn4pa6oHuy8DZw9SRmOFMj9ANX9pRScav7VqQ15v5xkZeA0/sUgS5uUEBx5otdTGi0w+Vv+GqwEG9k8/OVjWsV7olwS3AirroveEFBrrgMefGyPXRHhHZPEpBJp8S6B+mOZs7V+zZpfuaJ8g6jLTEk++90rHPLQODTGM+7Be8GxOk8NbAUefWW8G+7lyyA4rrAtC5bH5zM46U3uHVyEUcyHJLE5B8MXnJQwWLmpJmmFVVcjMdjpej6uejWrAG3OMPc9j9YMmB5/msCRAh3OnV0MNF+xIth86q5E/3FfMYrvmfESITaflBqbZiBRiJ6Hm9YZJetUNtXNy3BKPPFhOqzMt3js59zOSvnkeCsLMv2hJTywaf1cs7J4myTFVYrWJj9+6k/HwuOkzdqr7BocLHmyL6RfK5JoKxodaGoblEc9qD6a325EY118IeazwGLjFPuqkahw0zZJS5/reDr124fUDS4Tl/ammRQUgR1p2n8xBEeYlGGjtFhFGMrKTPXDqUPiQUO2oug4C4hHD60kjwlzVcUig8vo/4oDl9llp9CJlc+Vz78vxebPy5xyBnyEpmGZEgFF+ckiu1I8fGEkwemCYKYzXXfAxFRna7Av1iSkqNt9xk+mBaaxvAaFucswNz2LNujIj/p7n/cFHHHjAEq4G+r+/YaLPZxjtuhKup7dCbB0KtyHMZkLeEKNxS7AOUJhSfMkamFVgMfnNRoK4Ney+wkb32SmX07w39vxZJL+IkcswyXxex9+Cd9vsZstGJn5Kbn4BxrZgRabCc3hX9RsRU8pBOyJ3hGtGA3wK0QD1kbxUCAqB5kD/wo35JRVqtp/ThIgTGbyjQAPSyUoTwBUL3BDbprBB9cQnPQAIGiT8JZJBUvpF3vaq5cJFtgT0ZtJng+BAQeIjtXY0pLwBz+LEUHDjFWhH1vWyc9IlZjdNi00evjfpHoDhhAWB4QjKNN/iDdgM4Jh7Uh/OYfnDWRanbf6/+Bh/eGk5FjZO4vEVBiFpyL9PdYuWhZaquEybMY1rLjd19pf0YqXL1roS/1L03WSqraZpVH114nqRyqwipwTq4fJiuRXlbYV0nFb1Vp3UOUj+i4OGbM4ku+2dFauY3Pfiy0gyiTMjBR+KebkSlhoUGSz6LIrsmm2WjEZ04FN4PTOuXt2DYZcb50suxKqRAWMtZ32A7qm9O+J6HqiGByP3AkXO2xDfibQgD0h4L/1Jpo2sWQY4rTN4MXHrKUZI/GzQ4eWmXA8CQ5XmD6MZqzz0bM4X/O2CL7w1zn0Wvmflrzv4I2mAE5Cecez7icYtCRr1rzn5JgzHvNBgHFVYVLixwuphVRqhc61LToiGRwGiLiUumhWqrR+yXmRzjqjq3O8FjUElfybFx+DB5ZSdfZe5Zdka05NxZTHt1oYXZHBhFnwLQZv12BS8x6lYmNBGF/Q/SJyqBItWOSE0wwSUVZIOou1M5Qt/gYeLjtkOaZ+yhcYgMxFtuNuRlejgGquf3F5k9Fu0M/mqD6k6ZHTQcbNWwF2Rn/NrvVedRYCT+6VPmYesCEQkHHVImTG34t9oqyCN5ln3qJVY6VwiqkF/vCL0ZGgxSVc2Z4FYOLST7Gp/ToDVwAT6+K5h1raaFNrhk3q/tymgAfvQAi/95hQXGiqA8VyZ8uNSQgtiYdAuYrZa4ePNHtxMNj8fltI/cOccF7Xd/HPXEKT6352AgCYZ2c4sIWWog/rT+D4Er8UPs/5bjNkFXIbqFrOSXKyiBUXZjuRmGfJKviWHL5mZNRDzB7HMsHQr22YufPBz2t/4h5xrkLFnaglqIeLD/t+oUgZZQc4aAZFl41ZgfJznUJy8UJXux0hMwzQRJhG+rL7XiYQw3iyINS4TxFgn8xohDs8j0D+f4bSSyjMk09pt/gr8PUbI6GCvPMs3hKxsNy8HUXG4U8jV8k3jtBsBYdvS5z/CCr1ll/F0uoVcUh9ld4Yg0p63jgXd+YRIJ80itd+XADgxNWFihDbk3BKQ+8swTlcM6U1f9499rxNkOJBfeRUqvKtP/dQfMWGZAnGxG8HewsgfCs7A+xUvD8MAUUo97zlB9uBSpsP3rwsf4p5DEhe7atfG0oqPNgInT8wXYAyVnMstX9iW1Rg6CFV15PDifwUa2lL4V2WzU2Wmnl5/S1BPgmSzi7SG1fS20rOTjTbXlH7zKbeepPCi6mKajV7bcLp76STmo8YfTdkEAuT1vZLpOcAC0T8n8Y1SzonuK6156Tl/qrUKPr+F9jBA3GgTUVLCaKsDtr9fkVLYKt9UbCN1ATukiHkkZM0Kv96FX8YlNfxKfqrELrPHhmjBuIoTBHzhA4rVlGKkw24VBP+6jPzSIGS3UQdbwNj8mr0DjK0YDU9dTt2abJD3gxNhl+MCBluk0sQlnXg2UchHNRhRFgqDU+7ND5oT89ZDvYIsauYfjSFN19XARYoFhRWcZscebdPLEl2iLxzf9AwF4kpGmyQWozFgWNsfYW/KXgrNTnTF+bGC6JYMAcTOL3lyJdlheH0JY4oMsRXCNPm6xxReqjL57qPdYHU3l0J7BUKq5R+VOpH9uzTYxceSkEl0/gjJ0v1HpzYhbuNexDO+J53wBAfPS0JAnmDwU0iCbw/RPeWfAEbkKBeJj33DwaKbt0l+mbk21wzqov6crgnlzLJt/HxgaIRSuWSvKAD3ynWAcJhZFLrRA2BD+ijwfv87e7TOaA9mNBIMn4PTJSTaBYxd+cclKZLUYEIE331VZ9YROBLpOFwL+aebLdszVB7/cExQbR2Bxqe58KGxE9FrWCf+0TZvItUeOdBtyxaqXHbU421r+bi4gk3ZFv2/wCnU+sHLJSaYHqap6Hkiuh7kLImCO89H/kJCig05dVgazeDD2rmpcbWT8Gk0y0800jRkhk4jquOcpqpPVxcCaTMH2laL3E1JJ7KmWaK0tkxB0i+quvdPSMnBvx60RTTDkpFj/d55zvUJQrnD0Ej0Cpumu2fJcH2r/8iWZ8HHHBk21dXLgDun0z6Hr3EDY4mj44o4pDPmvZS8Z9RMRC/O+Z/cPsR4h5Wf0oeWO+NbvHQ4hT4zgduFQ1M2GO+RJaBqyrA6x6dY710VP7HIxw9WTdYNpUQ5bPi49xXPa9N7FaL3EoN8VfVjKHfVmv1Ym3qQ79eK6fch3xsl2/VtIuHw455V4blvhzMLLOcaF4asLWj8zakOpNybrFT0YRLMPloIkyZlzqOoMeyBxojqk2ThaSNNwkqzhCxDm0VAywM5vokSZazVEJ4faAw/rFF+VN6/+eJZDepq0NtRXjXHbNnZxzkQm0PqF6brkfa2IOryN85/a53h39rwUakZZLqBAYJHFdWXHeYI0xeGzF5isWHhD98PaV1nAMnAE/WvNVOI9uT5JW3JwpO0Mw/rQtot6hOFdtKFmvU1cxUVLfxC35+EQljjbK3ezEzylEDpa8hL9sCwNppNQgtR8jEOcBAzGsrAU45uJ/goyhdyTFhD8EY/X7DehrJ9CyAysL7HvtpswAVMBXXudCcHudwJ8vWBXpRxxEKQBdl+Vb3OEBr27bL75GIWSBn8Bf5w7NWHcU1FT5t45TotK3iF1Y9GGiGL8MCQZ5tnzt/tYVAUYa4dLPcyo9EgQRggls9aPg0LQcOp6GeWbQ8RP0dcJqptrhl1ZRDMdVx0dpgvoyeiDZVI6v5LAG4N7KWo71wpJ3hJtULyXCHUu9bM7QeS0zaOi5h3OlJ4n+oW9cbNTO+ZpiQ639gGZ206vQRG00yGLEtaoZltKUZ/U/YFUNoWHfJuiOPKDdEWdjnGUPFSH8cpz7u1ncltZ5Cd6yJjQkjo5/HYEf1jlelCVwTjNXRyuBMXXXVv0KHG1pfq+L4Gf6SwNYEtIA50zX6p8zsMAlX1FU66RTCl7yppGESBXL9Fxr7XTR1dNfyRsRKddkzLj9a6RHPZFwVr8y9BeE9O93FOo/5fnjHdJKaIE4sE0fOiqr9JFWZtFzxWEtmd5+8IH5bcm2YRsooCNB/u7v6FeEJVGPrYGN4mg1zaEgizVmzF/KbhEPXJflSDvhXEciyJJY3GcgjyUPpsqFpqs75eRd0U8uNomTs7vTRUKPUjO3XmpCd60K99ADltutS6hjL8wR15UidpUr4/FOi2MU+2hmqLPIn7H6zBPn3379hXRZjVLr6iQf6nciffsmmVwG0y0T4zDS910nseAzBWvDmJHtZwRCcuOPpVR2ENbkOzR04NY9+mGbkOz7ywrwCERv2bVbWy8zrfqi5dcBF+tBc0VngWOVdBGnNHBCZpMqEe4hjafz4XSXW97owylM+7k6A0huRTIuO2ulNkZRDDlteijYVolgjlrphEJqNi56En+ObW60N0rtWV1OdkMRQ8mdnvQ0wBYow0osfrNIWdoKqo1yHF6Jd6Oz/lNPEwp0AJXmNNEe0rBUnUEBHMOdRLvR6wswPj7MAx+OwefEcSyYcpwzxYx62FydF0skuvqDO2JqR2zgXwREWXTg3F5ARPpDprJLyB/ybLyOaAK8x0sVczg3tArXZ9cMSsk+oQim6jkzYMOASf6EZUpwaKBa8m4UoVmbp05071eEs6sqlzY+kD/DFVcAdscklHXgRuoAP4MJkN6G+OEy6ri1ofn7LAQwrXlYpM8Aan8+GB4lT0/SKyL38kF7DVare9oVSYRy+xxB7wIJ+/N+14mG/YLeUY9lzHLguCjUM/zeePD4UO35sumFlf7aSkSyPqXQ/xmsHrZKsDZN9pX2F06s7mnn1Z8kD6cGF9/Nw1bZlYHCwNlFdBcp/LZjzyDK0ZBIvtJzLZ7X3ZnH+OzG6Il7lFc6/fHR4SiDthaSVovb0f2yi6Qa/VJJvamCYROsh8mIFhOG1CSA24p8IVYB8UNQNsvxgnpiFNi4p1IKTKQ12NBMqqFy4V57rUxBEeni2IOoiboVQEiNHZnJYopsVZ8EhNogQus6FVXdbON6sFFeUlHPAEBBsl3yrW60lebNBxn2f+MrI2Q51QsoxjuAyVPVWVIZ//+Ca1m5uz5Qr5R148oc9akwUISVeayj4mq9M8wEpL97yVrjrpvkP7vasym8SqjHNUjCRq08oBT4Th3n13tDJxdoDW+HpRRzqc0QMfVDVoYHp5DxfecTLcE5EUSxNrnzw+4VGzqXkkhbqJN9qLHvgAsrEUdzcNSCRG/Lgy8OpBbt+2/3PV9U94BMPtRKvppg8K9v1f+ZQbn2ukq1LlTy3aEEFyWFbV7x/jfP50OmGGcMPp3v/hlaTFvTMQedFDEee+RiIsMx1sQWe/gBMEUv9KYV+x3voOEQgmUHiv4x8MOovP3YxepveV1iciQ6ILbr3JGZM1ASIpu9Xss5tqBmgqzbSrA1qcE4f9XMLK/wKigdlMXeMDT5EesRB+nxUTHjPs4NILK9SMs6mNDEaQLqT/JzPs46K0AEXzAVZfZBCJ0LrakSWy2bc8NvNnDD+MgzOuNCo1b84ZKlgPgHJ8/PYDkt8U07UoNpJcJC/ozLJ/XXVnZdme2ANyGVKk5mWmxnmGB2FmFHWrgAK1x7x9PEpZAFU+EkP+TxkNcNaUnscAAvrMSkntIm6tPpNqbaAILxZ3BBYD6habGHaqrUcD9d/1SjuSJJs1NRpv1yvhHN42vZfv+cKeYFeTEyvBgU5P9KSf5EHYvVmhpx7IHnHtP5cJAsELJO+pSTKYWZoxtj6VTZE6dzsfNmIGFPSH1tBmR+Li1hl6PrNLPXGmSXBalkKrUG80G5/R0zHjWsZ4RCtS67k3PhjXCoDk1/Hru6u7FO+fddp1+pQAOLRgUxyenu0hdCf+tZIQib8RPeUOoN6z87dpGMe1To1+Wm7TGXcTZ6DMKxVlW5hXasSLp2qRgSFCzK+635mDbYCRVTb7Bs1oa9c5PZv8+OoIwf11ziqxSp5Ye2TauIR6rDqKNCrSVGL2YBo87ohPrfpF8E7v8lG5zJVEIbyH8ZFCu3da1LthIf6M9nvnbFH3zxGBC65psIv3izulGG0lU9yX8c7NglK5mofhS3ZAdsI/+VQTv+CMxBjQHcqSvhlFgfaTHxkXUT5gSYitUSfJSl+geQURACrBWEA+LRTBE7D3FwHpOB1GalYQZwEmUhHjw59Oj0ENO3Twhkieetu3zcZOq9bueCTKwHwZjRrSnHK2gmo8KPf1UVIKbsOzFxdlXb+A8UnAUmsvSyRPIcRyy1Kaj9FOlSM1nNQRY8QATYuoF8XUX3UA6q8uXsJEQwUxx4ULRAtwR6EalYQPuLh6HRdsJLi/KmCkin+69iQ5thXQFRoKpAx12uygPjhmMMWzLKBqgPT65T1QX/XSiHdi9XxAlj6Je0xCM+GK3e3iAMbE5hKNl9S/vUPxoKtNALamYe2hHesENo3e3KwHWcaQg4SR1MNv+6Be2F8AmVm7mS4yQe4L7p9/Bt3xoSSqYI4malGdzd8rNKsFrCoYOVn4o/RLIWE7kjxncyxUKNQ33W+2xHeTmSuxD12xtbgDLCSqaej15Oov2AUyFkNKpFJjjA3wl8lPJPpLoDC0k8xU0wDimHhJSfuOH8odrriVaLoTwb99IPYC35q82xUlE8GkrgJ++sw6JTfnurQtb8ZTMAU5vIUOPuh1Wz28/X0J/edpIuPSWj72LxNwAtt/5vqKZk9ZXAsJDt6jaowbG/aWumJNLxZdgpphJpu7CmRbPSq5pvxWBnKCs+P/pkuEz8zDOiCcnaalD22N01CuoHE6t8x6LdJpwcVqhDAAblaOjP4yeX40H+tDpD4LkDItBy2PHRbNMujRNPBY6u1erqs/crGcDLRZILZgYD6rD+HOaz1du4sfw/Fq/b6dEV/sJILW5HrDWhAvRhdcElqMk2NlEZ4Ch5/gTvT+ddaQOPqhrcemGDr9+w84jcKnv9cQA2jFFrNymC1LFa7kSkYvaWlXdUVdovjU0fV1D8jP3gUseZ8rxgs63kzJMlMzJtbDMtaZQRT9KArov2f7N0c0rWXpj9K9Qui8oTc3VnKIrimCvcMwhGi/N9U0uj46aP+42di+ewV5auEjvXVPf1lwmXclOmzPHeV3gn7502Pns0DciaiRxVeKRvtF2HZeE9VpM3W3+b9iN8crVvfgj02fWXm4ww9YWnu0UzzpwILYwmojsbq2rjMXgqGjgE4AeRSSZgHQb4cd3BbXumQFiEP+Ym32g4CmSp7YwjDWdXGn0O/qeJaTF/AsFuTxlAESfUEZ6Vw4v16XNAjZdwu1mXSyWvHAP0AtrFbXAvquo+XrEBc6LjdpXveVoNevIvMmFO704dmm6fjX2l85aK05ijoezSKv7qngnB9nr1bSrbcI+zFyVH6Lng2ptLzG8/Scf5yKiGVLE+JkvIT5J3pzP7aa8SuiLSv6UTdKX61cErOFhQHj183fSQF3Bw1/DlVjmqhj3M3BSvhFRWpmlDH3/zNm71JUZ7uuyVwLOwHESGQit1chwB0786Tdre1JdFPIErS4+qc7LZsZ9dC9DVX1PBgF/TAp+dPTJYfvsUZcCCg1fzEgm7yskEw4951B1X9Ckuj5KakvzWROSyjxCsmLqgDgCCUpd9gZoEf6YYJYIkBRfcN6PPA6x0iBdZ3ehYTD6WBYQCFtVPzMLcqYEhXpZz1CjGwltO8JMjMB4lLfOdMVqlRiZOHEpR35R36jEV/WSTOFAxZnqkylow1yL9MCsRApi7AQd/yKT332cgB5qujCCu2hynhVH4gZVNdC2d8C51ju3kvJq2gyuSZtGnBsbSfj7GZ8TvzgMsexrvh4AiJOdoJ1GBGXnnoZHWhTLpslZtBfsd4ASPbeWaIo9gO7TYfkJMzuJa4uB4oZuyeDyUrXSkHgacjQcTagfp1KFcREbXnj+Y5k2YL23A8EmzaJm3L26xx9P23oDpjLjnakF+51LARhpEaoFWZly4lKtMbjVLKsr1/kju6jeBIaL5hj8A9YEofdw4psyRdXJpUpTtuv2OiZ9PFr0KwL/lQgpmLvhxHsL+CUSwuDmrLypFYBZev7piL6/rX6k1f7d0aRDlhQ8UOUu5Dd6EhpbuW7WLS+DTSVN4AOgFvG3W3i0sXbHbl/E4D2F0I8rBVD9MTHUipkC28T6vwCB3yEj9kgOyQIf4n+JwvhDhiC/IS/pDVG0oak1ssHaG8YDmyy7xq50TdwCiJO90b/6VwPuIOTjmVgkzVGV7gp7uYL+MK5N6bAhm+gwua73bzomf5IhQ9va9QfnLURaptyuXqroa98hBZoG4TssINwEtxoCUdJ7WnXP0O129ZZWFwkISMYWUz7Hz3EGLteHoI8p78LJHTmlhO0iylkRUV7WyDPiY8/bQUTmEcpoy8ogkPkA0MDPE/l0pPIiozX7qsoBgm5QeoEXcGSVpdHw/vwPN9r/Qc/TB6bohe2GSSQl8A6PwMmt+eeDVRBGa9siz96NPFHzLXS5pFH05m3EuhTpCiPQlHYXg9ac+paCBjQjtAvHDipR/WbF4k2RyC4DgH5NkzpTTuSzBIXUIpgseX0Vk6z4i0rLQztke2S17WwmJvR+w78Dcx9RNFUslBvzP2cpVE6W1oxE45Iamr9OPv2UZbpbvRxP4aWglFJLQMQvP3wxplbFbEoZ/AohDIu6UEb1w7BHNuVZ1V1F+UGMP1Dd0jDIexavhe9MCNuSBs+1J01qEhSUTLvzGDYn1rPBL3n5VJIytXLM87lg2nk2PTju9oWPg7wNWJjJrtyg1eM/+jP5egbaHpf3bKDs7iGID4jmea8JGlVWalGa+zVff+IuyeD/PQ6ryrXy6EBmRf1uII/v6i080EpFDXgrtlnv2PSSuu0dWmd2tBx9cWaaAgwM+S0R1iH+WVhd46tIe6lomHxUcTSNaLekFKWCFTo/hg/yGhFXLT/6vp0UgzV31mj1py6d1rRu1kcLSWxAutS2lpGrYSzJuzW0tAfRs38xXdjLfCsWLOCzgYxye5JfF0FAKQkWx3xGJ0M8dsPNovHy4iPCWecoNSEDUdbjK9Xs03RFUOpNZ0jV2NJqoE0fV8Dy7rwQxkKv9WeJw1Mnr2/wKUlbmowZbcwvTJUwHKXZAx/q0xaLAUq6wl9Gqd4b/dywBTOtPDZh4EvMfqjJI2mPKRmSxxLoAfwgjX7vyMxoBshD07fhEgkp/J7QPPy5Brx7JtBA63BIpF0FukTubzxJtIQA9xrq9zhPDWLFap3+vyg5gq/YqBrEP0vqEl5/qlQB82bYN0i1vWgYxxkKplf7qFjQ2NJPNJkPEQNSjaxnidzWh+0mj+fGfCRjE3/Jbvppagqy0WNJfdaSdXf393Ku3wWxJXbBZfovgM9Dj9zLykzXdKqQ1xvFDIDk7Cuy6WrDLfMRQ4StBPvSsPD6yAwZzTRijFM5guMUiVkO7RJq/VIdb4aeW5lZ0rDzqqxF+H37/pgm3uqcjbJKC/qJD7HoNGv1c+zMEO+rXTiTooGwDCsievEUrVRY9tyfCMVDOL6fcOTq8lAWnVA4T4VXbDun86Tur/pIVbP7OeohPPzLCLI642h1uH+ByEMRgEMuam1n73qpqwSozgbBc+mx+PnLdHYR/bzPQGo5KUc6hZbJibbC8mAybWdJL+3zDHDVvcTS41HoWVpq+ufX1RL4leBvXyVuy6/rX7EXVvpDaJDOOrB++NhJ3i9kcI6au6enrqQ6yEk0nPBFJ2k+mhDuDYLVLjASvuWWBfxK8cmZfG12VlMMvbqCFhf5f3BpS1dhuObZX0xMoP4Qw1zOvAmfHBkMQ5jtMojTG1rRLyEubzaD7rdzwgPpo3yp7ErVTv1ylaU6n12nLUubwZfqRrjVp3Con3tbECwwaBHszFO6j4vGZv25IL+EfZJPtKhoph1JlstnWanq0gV6a4/tyPD2DJIWOpHaoEdOTdJ+iRj+D7HPP+PE2K9qwq6o/HUhRWh1LBJ1X9IThVmwxIJjyyhBR49dVIcnTZUTpW9GmekVNCtJh6ca/FC9gKRY6G4/E1Jx1bFIL3ec7ydZv5SXFw5SQFwxkEjaAzj/MvJkuj6EJ1Bygd3qSfa3l8qWboxVmyX9d0G+KhRyX/VEZw3StGbeLsN9tURhO1cT4VN3W5OEX0LDTH//6td0NQkRHNuGv9LpTVxLAX82TGDt3v63q7Qb5eVLOoIu5QRRjDpqZUg0DlQKPPU4kCmX1gg5Ate6um6tXrXcATtaN+BJBCd7t4lqG09whNWrBxsmtN5p4RTbT+BhDhPmcPXKpilX6S++jrm2o6gnF7UeUxstTXDjKWK3Vj2p9iokggxyl5m0puFOwq9hq5UGWrrjsaRf/zjBs/aaLTNalUx2b4R84iXmxippe6fbpOnMymN/pMBcxDp34y0Nu0k61OJgzuTnsvdSflIx8M/cSeOjEFxPrRQu+sVcadeo41NTrYERdsYXb2GP6bSKSVbqm1/R+XpmgDpSqQNtb5HDzdXXIoO3WUgLpI4mcd4slRy71xgxdsgS8hgX7lXJH+EdPJ0ORYc7Rk9/f+aBc0zDckMbJtY49XOpCOWVZqMExb5SH4wd9ItQLspueqkXFK9DtnuM5l8ZiXW92QealN2Ut3NSwyTAdLW+Nq61EPE99eLabPAX6dE4cEEjCCSW5uAdbqmkDJNqsd61fzlXMpcz+HpV1mYmL3G9RNu9NvT3zU1EkONSM3ECwbhknK/NdqGgQBmg087FvQp+a4bDLGYlnArXvSaTINtEETihCgRN6zBTdcjuOQ6Gft+3ZBs0NnKip+lFUYnv6WqNoHmSD7xSwRjVWvG/TvfOjASoQmShJCg7VF/TswX7uTopT3z2ukLPEZvgt3NaUIhP+UCyMZOMvotPwmmQkviCIdznRvud8FmGzdDVLEGuuYh5dszT6FWYKg8xLAMfqHrE0VNYvDpSo0r1wSusQk0IkN9B3f34kMhvttfjrRmbmIEUOpz2PEYgjyhu9Wz7vVyA3yVBN+Rc6/9AwOv0DXJPJZhcrsCLoaMzQoqP6Dj5cqjGIdFkEjuxTiWtHwi+0F2+Sxr1v0SWj+N6lMs/ufmkm8I2E6RNbhVQNytDObjxzSkWvnOT9JW14giY0bX8gqaIi1+m3TqEKFjZEoPAw78wEARkkTATxPLYxtl/CqEN8fF1lxszGrTkpaCVhWUQWmMnX0npWjG5kqnH0Up/NCZ83ioyOV5u3NAQgK6vvLArRLEc6ANB970PG8NgPUNqr4N3V5r9U1f8T7tPnAfswce4np6necWo+S+ogTFPwA5W1J3pQW/JkfOdnMf3vvv5ZN0ZijyB6FY4eo68u9VhHLWgNKXVuUiWGIGdsF+hMXGx5sUI3kDeiehA/TRzTI/I/sDEs3TxydtuMeD5DRBsiihzPQlOgFBDW+fa8mB8lfUlExRtWLDXRfpe9MWTeTT45z8weDkzITNyQHnhi9p9M/uSvH0TW02+nsbBIRe/8kRR2xcEQK/vIb+EQIfagmvxuu8jeVEtDa3X7Afansm+iRCwQ4lvkmde184W1VHqv+i0HHiTySGDULVWdy6owpOfevmcEwIq189ufrUIIrfU1INwEAVOegJODkLB2vKXGCnfycyGLelCVsseNELLXGqKFstIJezQy7ulULg1VqfCAJeLmpDoHznL44nbD6xKNir49z+JC23hG7P0DuIWrK11D08djxP3SrtIRIAodE5KG0jpDiYMmJeKsopbObFUAMnWYGxH7SvoNWWbgtQBsFs6By1wo9MeDTEIkHzYst5kjdnj538xfuVaxI/rGBBahTFzKHH3439z7h8gxNNfaJWB6XbZOZic+qKCknuvA5aWJb+2septsBY292nPYfsgj2vxXf0Jrxgkye0F+PBE1jCZihfV7VCcgCrVTqyVROOXztod3Bhh4dU3G4HeBQ1nJGYCKBm1ywIvIedjU/jZtYlc8tkbMiVMEnXDrAYi2sAY0AD1tIfeqFYqDBzy2Mevo5VeLqCSw9nROllpdQa3hZ7GyiwhUEuhLy77NRGao3X+lWP5yBNXlOLZeFMvurS9ifDWkkIE9LPb+R9yz36jlQxKqxeLtmnF8O25THuuwtlS7sdzf/qOt6NRhEV+Ahx/nplB4cTM5UfD01hpLjaznpDT8aXcdgV7gO2c9ar4dv8hmOqPJoICKv8aXh9+/2+hDvmAiX36NoRtGTjjwRQ0xasPn9oIrZrNMWv6pjbosxgOdfQRBXJC7IUzFLIBOMeQgd9bdqk7MKS4lm1coCPXJfBCxFrM5x7nDdscCoaLWqAceQjaUU9wXZqie5ue67vAE5xf0ykDMcZogQW7GBy2gRaxaK33G3kUIuPMcPgaaOxCVf4GLYfyDvzu5n3lF8hNNBaa/b3HA/6I0DzgMZPXBkFTWphSBDW1vMopZlHLKxmzsQYwgSQoF33N/S84zL+DLCqh5JUzxk1rsL61IM5pTBN5F/+hbYTjMpN74hazm5tk9mt5gdWhb0LacO66uPKdbcQilV0eTUwefDRmSNckE0tvPxvFji8nyAGOYnLPLsWJHuQQ24PE0NUhKktNjpm9gls3s/y7HfQ9rm7Rj/CgZjJG1U+3uzkMQBwK2B+GCqf04RlpIA2dJ+Clcby6iIOKXgUseHG85O6a9DnqgWVZoEefQo8ooJuQbOqaCOtfcs/acXT8Ilqfljy7UI4QVkt7EWiWpy8u0/XBbBVAsWK1pshPkU2sASNjRWGO32tx3c8IIVXGnBJ94eg0vqlDeGhEd3maKlWDE6oo/+XQgpzNHSgoHeVzpzN3ZFfnDYQH4jNmBEQ2NDqm/RFPCrULR5Kq5fQIBM3Kkj4Yx08bIGjy1j7e4P9isrlr7dvl2xDuyklljhj6/OLU5bVwS4Q99ZTvwnAzgDL6soHc6bnuNuHuCvp3mkBkZbpdV0YkBKdIDItEK+lLfxQhCeEovX+oIz3CU+69vZ5lwgcjXItyL+5bmoUGjF4Ub/rNUXaxWE/Wh96MAEVh1z4or94HbbSwybwWDHZRRhKVFzrZq60iSLeXurnkadDjiawHkiCjWCpqSjKdjyvzGwgmBhxhxyus/7+n3dEKm79JktI6/Fgj9I4Lj00boUY5uO4NdYb+xdUGXZHiKSEOwR50BKYsTYLMo4y6PtLD30ISw9jP9qb61TiyYY/3REyxq7Hfd+brKCQmzoM8LVYGOgj1kdARUn+TQobWbBj8dBKxoPEpBnU20iKeCia76TzMd3SF4iMF8ofSEuEgUYw7yHu/XUA5S5/WHQ0/P9wyTRiEmVAbcG9c3gv1xFXzcf59fTUCMq1Rzy95MMshtG0elOYjyoYonQDIvZdMbgMQSMH8F/nnw9efciGHbh0PVTf5CG4Gq3Dsnz2Y3VgUkMCi65ZsdQNo5hiEs3I6mDxlZlawlsF5xx5ealrqji5UwEeBJOtoTR5GQJmWdPqifUat4Kh/4AtlMliFgYL0J1tGEzJTMuMQ7SfJdPEVVFZJh7BG/+TcRJiLmxAXFXl2AokUvQZUtzgH8+IMVjjxSkonjMyMyuWpdFSrBsNP9kkVHHoDruQpkiOi1YlfT/6BWDft5jUkh/Q92csQePcMLN+FICJ51a27eeErzRxpVhJeWG8QQ6t9gHvYmHsm/jSoY+RNP5JPc1Bt6HxjRho444MaMq8kNZStlK3aTCYe8DY7tbjNTEGhdzGfQbItJVB/68QO8DS/GEVjvjKuazH0x6AaL7ycbOuCUErpllKlJSq8GdHgpd5zOOTBsTJFqcuiVxDFjPnONAzk3HcG4Oxu7Xqq/bTzQX6tqQQHKxhb2yk8Pd6V3n0Qs0Z5uENclwMV3q9u2+lC9R9b2oy70HsoPq05AA+NlTQugbeKzM7eA+T1Y9NLVtf3NHInTBFspnnFNZJ+zdssUrCYqRIGY5lOItKMLJ35wzjiK3sLqrJCxlqJMixXtg+znuZJXbwytNZ73k3fMTY6bayBRumIaUsk+ZCWVngxWJbzDY9flSG3rpAUj6z4dT/w78mDe9Jw74iOnav+MrYKS2E3vNMA3b2oregtkvGJ5A5eTnyTA9BZ9Xl5bz6mGN/VkaLWYSWZL9Wo6+Mcc1ijbIkAYymMSCh0TzJL9nK4B9KcHlrOMOeTUx2jxXB6n8OP5aHISctMu1VL1ntg6qhc61pMSN0YKo+al9hMlvmxGFJxgk59Jb6kiPqtO4Ko+qqhc4GH1WU16QrBd6/TD+GiUSj67Gs1pqLJ5yJafClt/TU62a36yXxJr/VaBSgACrQNF1og1FCPJCSdl9usiVUDi0v3ksDJVGKRPqeNgi6md7Dv/QPmdJr8c4Z32oMzphLTlrZBUfA5FmmPf+TtjE3bcRGIaX3pKg9J4PcKQ0ADgXF/VKcuGTAUOd1dQg9TtdsD67OPbPJJtjjXJdP13g6KMXqkVbZgiHW0M+k7gqYKT/0UXA5wo6pN6qq71BDNvBSD5/TZ9d1uQYKKM4byjEMtJVaEy7MkAnQziSe6yhWZJDfctrZg2im1bUmglrDqNF9ZdQ6Y9d9394sV5Bk6gq9fRbcjxwZyTq3Hm74B7j/vl10oPWM8np7XRSpWhNNXJqvPrZ6+SJKpiqdJpp9i6DxY+gaAAePpXLVW9nNQlS0o/bhP08e3bMPQ1DT1GQtroMIceY7q+TZBMBrQWtTwMPjsXACBbaIpaSxqm8mdkr0mQiQrjNcxziMoJ33/cxT2U3LfS1LsjZKqjt/Krf88DgZPDQKwM+wv8tn7272AKqr581/PqurpdE8LyArg+rLkQku6RKN6ljjtPIO1bKpEDb6HDmqUV8Og47L0jMVmH41Q6aYZRnwljxU8NA89mYxoT0pp15MRrbKuDDVJrD1KDb2WYZQ1vUBWe5HzOOcps5hDja8j4cU0Z3hP8u+kJUXIb+KLg8sIVVMOZmfj7JH5t3+hlVcve4sjUHsmues9ObifSbizp092BuxGM+MorEKSQoV7/4JswltsZ4n/CtD++QflSrdRIhVHIok1K2V8GNzMyQ4jlFIkPDGAk/FCBDg0di2dqmDGvhH9P+n5vbQMebWbEjwYtwuQGQph7/PSZ1LN7ZcRgP88GmeGaY1g3X8Sp3ahdE0O0Hzza0tlDT3Wj0mvD8SSEWbnaV9v4FkN8WPP+6pXitwf24Hc7VsQVsCvnNX+NBlV1za7SJMXj1RjpOrGnzGSCE3e1FlgLBby/AxpY/QLU97wegDW+CoU01WkSq1444QoBXnfsloNPHIbFwczIg1h6ZlPzEtKfMyYZsB7boD49x1k8ILKUPCfrQnZjfy+4/lRRbpyHb35+NaBgB9F4Hg/z+E/E8Pa+IUYx0ymrx0m1B5RQvcYhG6nWvHZ27bPaVMyOFEoGB4Yhhk0vxNdV56GRPqujGaSnaGNp72SCOqnZSKgHbRVk85o3UG7uDB4c/Wtli921Y0vpJi4EsxfjJXePfct0nKnyd1RapnFDDpGtqhreA7/899QqdB/ONRfZOhb0OtUttkqyfq34EV0T6d5g5GQTiIzmeNK2ydPCNdV6tVZ8qKyjqyQtBqt2vPmNCvlTvyMwBAwtxGKq9pK3qNp/vjIUoNyBkxVYofnK/RuRposDMnl4gOqYuq2uNXO+eDbczhSlA+VOkwPO+wwxVHZDVODtzSfAjRQjS+H+aQ/9WVIRghctA/Sxue7HTqfl/BziKAqAVIVQJw5LcDDOrdwRPH5zyQ/yb7YrlfTT7IFIJO8NVe5G+zDxCJ+csC/FvF9CkAbfHOk1fuyHjzflNwH0g3LeEftINloDVCn4ymJajfQD2GbhghzhTHyjlkOhT+5GwmCVCNRcU16Aqh9Sgz9cGTCVNWfxuhQ1v9eljZ+jlOQrtkc8Ijw0NZeDEY+9Ue+Kg7dNejEAllgUHslqy3tmWkUqSxzXN59/kslesl1NakOnbU/Gt0Fr8VXGIBGUoO7m4sCwXRTJ5nKSo0PrFx2iPkNoAz47c6h+N5wzndhdsuGsb+/vzDZT7JlimRH6VnBLzoKENK5bLeMG2j7if7ohosF0e3xrK/WXvLZzznFQYyr1+ncXGn4Q6lmernsGhaPmSVy+NGMah3l27CioBtB2ttKwIXDLs7/VUlO5giWnICPOW/SEvXnbL0U8Zv8aUkvH6n+ksmkriqhGDvQ5cSOaiMILJgCr9bRbd0GRRv8geGV5DnZ/henHqj4M+5y5F/0aIbVH8w3oLUBmLR7J+JTWgmmy73Jz98CdU5ci1bl08VR+1MbxyLGgpmlaydsBdxrycpmLM6kHE3bicIJYAYSvxgev7W6BD7hb8HQMY2hq3gbrSKR3dwk1a+0uBAJpY03PkyTRK+kmkArnt/bFv/IxL0eue4Pd8SVa93YyBwa8jEcRVHxBY/wmakNh9XeLtQ8O3gmwgBLTiaogMDZL6+TI48XSQkCUdUPU1nxY9bUOTWOz0fKylGIQWWsmHDiUeQDnWBexcJGpn40SKOCN3WKNCL/1050PqJClHkHiOzxrKO6MVuH3y4B7fyKsuHnnSjl1HAv2FHVP/PTYgme6y6vUkLIESJfa8vXL3RnwiEbsvI2lvE8inNWnoneLjeUJSmsG2C4RvvwKU9rfTQ/8d/M7iRxhVGdponx+yl9dShS2zD+7NHhPMFwodSrh5uA23MufboBQAvNIQNXciUijL69UFuiAXgAybKjilgzn1T/cQaasK64qd1NX1ozqqGER+AdBUbyuzQODRzEJEKnOaxBxcbjmtp1ttYwvTfJrqxW5pTl6d3+7uUhX+Q8vZ30xmRav1Co/HdsK8uNe1WaIq1BgYgA/GXvH7Elzx6RG6kMX5QxjOAaCPjyRSa+tWTgnw6Cfg0OY6Ey137jtpwYBFv6wiy++znPkizP9b4GhqhNq4TYUCME53CfsKWA/UfOwg7uxhShcWPUOCh4x0Y6QzDvKMb9nuelbfI6/YWaK8LW40qUjTGi9rj4AROnENwYEHptwfpueHn3yaGhAl69E7ChXypCbJpDaE5FdDK1Csxb70MkzHXWE2wxbjk/a3yXvGvyL1TkCXu/pfK5Bz1HXz7/Y3ggrzGihZ0hc3C8+YyN8rOHDobPWPzgDvt9vbQ57/Zah9cQ1cyBnpfGHakzs3L7vBhl6okLz3X3SbTcxsZzY96C7AtmLlJvjzLWwpNw23o0HmWhAbZ7kn+pYPa4vOjEtHnC09f1ssuaaisZDV9p/EIz8r7J4g/uogrFaYMHwc9mQN7JDCl1d0jICWWKvgpEqzkO9HV3jwKB8Nyp5Ci2PH9eANMrGNsXMpG8OXzeRo171XufactocrCkXC0PMvb393CCanffZvnXsJ7Aiw8g3Ou6AINg7+ZOSWXspPFJM9CuVkIdFb+lritZt+XQ1fkoY3M1qKGOfJtfQdqBCP2Hbpu4kPpKvk7/N2JtevfzaKPxdc3WIGZ9yH1ovXskKzsmJmynE4X78aASWS3Vzlysf5a63F6AegRtLMBXQ6M8oN1798f2KNA/h7pYDLSisg/sxk25z/aAHSUM8aZWVAqrgfgfrygmso6Sm4akRN70BfQ5KsmG074nKzDJUgBKs8HiOCj/fAsYBp0caOCt3Dcm2nyTkd3mVRS6ctZck2n6dIjhT/Fi9jH0egmngpj9hketh+bg3te3HX2+ETTCGEc8+yYSo1IWa95+itZv1AjJ9ktDi4NCxEcBm6EPaibEkHIwWGnfh1wHUcgIZYSF+9ttncMtw3+oCygrTeditJp2dkgf7HkA5oxw2V1fdIBvhsoVZeTc+dU1B444pf2mAL+H/SZkzHCNuNAWG9TdkpjUg016dLxav3kDMO47gCCnDbNzWWh9qfKN/bkMKX1veJD+31nNrkOsy/gbCPRK18mgjH5ghu66AZzm526rRxQiIo871bsnqptIELALFNALoclUDalMP1BNoA9c/sYuB81lbR3Xj9rISnFscr4nKgpKOZhOvFe+AcTyRZdjELKqZw01/9Ft609CSBAZhvRR5UiEZntovUsbPwBjviLNDQHbI5MfI6zb9by7Isrps7+iSmMMyKVpqazRaHIuEyetzQVbCpbwQFzvlaIYxAWo9RcSXbekPCbTr+XUwH2Ac37hcO88aKhIH3Btg94aDAC3O0KjCkMygKE9LIqZXCYOgnecZcTT1qNv2HqpTXQ7KdgpfFbkJe4w1JnCNKTEUvUpl75Zqldut6Sy5er08EVnm+crAT5hX/YB06GpUkzbmbUJRP66hdXHpKmoGPFDYGQlGgOgKTvMSPpF3FcyqCvyMZtKNJyN0B8imqFW6N915BiLbBbPf1+VxzV/zlZdlJ6Y5z3gukbRMISyKxPFkzFkP+JwHwpy5flo02FbAvrODT3kwOTUGtAma4ReMniP/Py917HbcRCYm+W3l/CsC5LGVu0h/EQlN5fDBPbYwN6Rpv4MbdAvWYTG4S8yiYUvlmaPHwtuBCgno6bhaxWJp8ocsAOh5VfiILkTD1ZzLzPWjZMLy0sx5eiYI/xyDqLeKq8IgynmC6pjKXrT2wICSVNvUCyIyxCR6UuO/NO9WrbBC1VNpAbQ0HE1q7v/SHHykfE/p7TU3W5Ojvombg8qSMeOjJ0eADKP5a7utt4X3MdNGtZ4Xhqetn5uJMI1jLohsjY5gWY0sw/S8I4gvHW7VYmtoE1CfHtycgyruMYV3I1huJaFxHpie0kU/IiumdlnNma1FapC9YU2UWqZRk7BKsQ7jtp7wnDjcg7gYNrh4ei1s/KKVbbMHjak3ckbY63wU1/DF59l8scMiBmiC3aYdVJtd5k6BPk4pHjEHH0sqSFY9xAxjxohVtfEPadjFAZYwoZkZ/arS8l78oYXgljiRDN4iMgASj1cXjT/NOKcKoSuuAqbGGfmdF/JnwSsLCJ7swGl/Rabb9/eXdxTXJk27vDiVyi5O+NjM9lhfzmKubpK5KdG3AGCwR64rygeNJEwyPbiaX5u6MTg+6Uf06WORXy+o+3iFjYAgqr3OBGQ5J8y5LEtWdM9IX4xj8qJ+6Ljj5ZFdF5YgyYTeeLGrQ+KqRFcPkRqVl1wavnG1diyg1TfTPtCFFmNKwaQs/PGweR+VdABOwvT/kKIMfhJr8yUgciCqpF73veQL95lGlG6q/4sc2eaojB7edWvI8On3AVdgFUN5g011PUb7qOjiMfqNSqhsmCcRuWQ8ZFjbB/Xh9YpmPXgSPiZHBBFDbeGpNvJbr9pNBqaf8m61aLGCrzTkgbI4N6PFZ3E10Uaj2qpOXI2cdZe4tf44XYBhL13Bob00HHvgvQu3ugh98yQtnfXh16N5B/ufr9itJYg3f7/ZBzGZ/xs4Mx7K0kpeMz0cntCwKQ7N1ARIynqO08vfyEYAW1dzSK5s1/DXkh28qDheWszQ/x+BfWZdj2OnqQfikth0ZsafkZWtmrCq0a6LllGM/LlJ15YkpTD1SVDbXW/LNlEnSkN2o27Kpa6DxWbViO7R7xsWLucr6YBvokdVBj0eJFEy4ptqQttddTpWaZmJ+ZjGSbuR1lVZG5PGPPZy7fOl9RmK8IU05Tsu1dQJ308DVmWV5HOUjBkmeGAFs28vIbGry165Xe3DCSLKla7yEBpGu2K934W/ZZaxL4WSpMdr//Nrf3ime7QL7JLXupeAvGQfu8TtDnNHc01WzcsYCvdDCUQFX5WxEdKIk89RJbXTX1AO7dpMV6zBx8z7gCyssnPFOxQqEtKIXiOb8NcT+27Gcf9tcL15YIactsK+RGZj5TFds7un5u9Jc6EOoZYtsZ+2ximiJt17mIwOJlpG6dr0yRFdlLPILNAJwneiPTR5yzBYSFJEd2sPFTxDXzKgcdvKtgPQ1Q/ehMjHtMzI0LlR6HO275DxBmSCPTcTHUOG/m6yY3M9NoCxmpyhyxB6gpPg0l6hY8Ao33IV92+5+llBdaEjls++82gAX9+m88TqDFWDtINk3JggOUwx/KPxSMX/HNcWGFa9lv3GV3IjjrcOO0QO60flfT8IH4I8UX0cSpiko/32dgUNKVTf6BKvUpU2C+z3SGnIph8sfXUdoBlxiOhFh7/KQjn+L8JJ6s861Tl2jAH4vmVb4QRPfq0ncByFS0YZmfEZnzUjbl6cS/z/4UfHqX69I2+AdcXOvR7uqJep0JT75cALSbmtDtDNUULwYC6O8yvxY+5ZAfsOvmPiTRZ+OCwpj9pHSANX7Kgok2qLYvleCPRSExxZGtk9rjTaCgnhF3T0rUCzjRj0Zumn69h67VROHyeEo/V/RxVe2qpXmC8B+ctndUyhc9qx2pHtg6x0eNSuUvwmlWP2+rmbGlz1oZHDgjZpsrQLVdV7NYHO1RU40NOOmGc3H92NWP4Iv0er45lePKuxmVMdPcBsVgOeUQkHH7E+jFexjxESBEUNwCSQywpauRgJNyhc738CwbtUPgWr+B7dNBRyHimKUqQTmQmyeppIVqmAyy6UCgfDyvy7E3znU+nHsMjg+5PH5M5yvYuEATSWa5gce5OMC9Xs/LmkDCyU9hIFBARXkx8/yBjTy9A1KJzbcSNM/bJvveO7ubSVQGW5XABuAONnaflJ7dA/g90aIqgX7AWVix10SSxzGx6pfZpA3M0/jhUvre0Qwggp8A+gD7sZHl7gPVZHInUJaK0VYqO3v4s8TL21S1ORKowVxSxUMC+lK1BfmKsyEhZEl119IsJZtltkOp5oWMsTKBdFblvANvYr3A7XY10XezUeUNy/VRS/HWpTPAYkOKnvawxln4ySG3IAlF9QQBblW7Na8VE+9+0qGjK/9KRuz+u/q1R75PUElVty8538wH77sKce+FVJOU8ekS7OZZU9lht4giiFTkdNOrER+JUBSDFbly2dUycWv2KFF4VwjG0Di4mnifxYBw9tooxV/uAVAI+8uO34D+yLb8PNkRY8qSbrglg58xRicLR2RaTu1n8w5jU4822hai8QMd86jH6eN6OvOmAY0eMQ7jh1jIC9ieezbHasOPLUdRlC3X2z6b80cnesT3MAkswSgOaRjGcTPiHk/nFm5Jh8hVEtery+Vhafh/V1QhGdwCr9jSnj4lPTpWk/vpyUoCiZxALG4S8tgh5GujRFtoLhTJdNz0HmSJEHQ0aDm83bA1GJAokwTHM8qom7Cuh+jQI4QFPF6ey2GrkLm9A9f/wMKxexAq7G77R2rW+ix5CUamECmsm8+0h++QwG5YKbKcjfQD962oram33erp9P9tatKdqOWYcbUhTTFmTivgUZAMVqhpGOGhZczk9vyB+vG4DZbvRf0hmt8ulIYuMqBe7sDG8PgCdUL7TDTIFxv7pmwO5+OsJWAzlNoIYEpAe1GQ9pPOBF3MjELkmBHUmegbGTt5oUQ9H9iyICZPocnat80wWOUi4ABP8BejbIG2O7FBLwL2Ke3R1EP8jw7e+UdokQVERpTWV5Ud+fWT9l4awDK2xe619ryh6RqZLVVD1mb+RdfBJKltB6tf">
            <a:extLst>
              <a:ext uri="{FF2B5EF4-FFF2-40B4-BE49-F238E27FC236}">
                <a16:creationId xmlns:a16="http://schemas.microsoft.com/office/drawing/2014/main" id="{299C268D-D216-4031-8C75-F1366063961A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25842" y="1799924"/>
            <a:ext cx="4114800" cy="4791456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81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MRUCOLORS" val="&lt;?xml version=&quot;1.0&quot; encoding=&quot;utf-8&quot;?&gt;&#10;&lt;MRU&gt;&#10;  &lt;CustomColorsMRU&gt;&#10;    &lt;Color aRGB=&quot;FFFF9900&quot; Intensity=&quot;1&quot; /&gt;&#10;    &lt;Color aRGB=&quot;FFFF0000&quot; Intensity=&quot;3&quot; /&gt;&#10;  &lt;/CustomColorsMRU&gt;&#10;  &lt;ColorsPatternsMRU&gt;&#10;    &lt;Button ID=&quot;menuSeriesColor&quot; Color=&quot;29&quot; /&gt;&#10;    &lt;Button ID=&quot;menuSelectedLineSeriesColor&quot; Color=&quot;32&quot; /&gt;&#10;  &lt;/ColorsPatternsMRU&gt;&#10;&lt;/MRU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Q30RXwdXtvkH0USJ3+j215egEJEuk7gHZHGx82zPR3W9UzvHEntSXqqBpCsPUv5X4RlNaOOdFTF8P5Q7nrWIjGQIILdVMtJ4ci2EAq9itxBg31y9wrLvlsEVlK7l7K8JaEub7IQvzMAn1A72B10D86PS6+bsaiJkBL+NcVeiQJ0x/2vlSAO7/pbw7GMG2cMOPSfnS94WfeCnher6j3ruO1wE7Czl4e76/R5fGeko0wd/iMNMRy9mRAUwgPO7JcLR4lA+uGQzOdNFFpl7Eb7iagTH+5KiG5opLwxFczJZgK/yRAkAVaAfVloLX3pxTIhe+p79GhxUvbrWc7V9PSX6ysh2itQxU8ZCNapVUMzk5JAVpAjrC3lL+PX1gQsj5o+rs19pLOh4QC6k2ZCNtZlmuI8uIhxuLRwtCXxKPsjpCn/No6l3PXwqpBoIIAYVBxJexI6T5Ml3ArWPXchvRkp6zcV+S9kLEIsE/Uiy+oVe4cNqajvHM1dJr3ugcapNuVoCFth2SxKyGAHDTsxT/pvm+P4OB/39qyHVnRS/AUBbQUr82le5G5jl+LDCWJFT2mzZxABGkHiuI67tJCcAw4TYNZm5vjHT4uegerz9AjF1HXkJ7STa5TnJ+OPl/SqRjh8pv5Ij15cXpIuFjb4Gv2QOZU9HDPJpttoGHVuz0jPsza1JfSNN8QzHdAryOOnrs/R9nKGbCpJyvSlL/o3ymLdMFDq/BZ3XUjrVWr5OXJZmXxSphD4XCtoOQwtD161ICn9fDAPFzVvx6Nb9K9A8ns+zQ7TYbkUIefXpicQY4hCc4RDzuMV6uLIiScNjaG/ffoQR4g7QoTEviJ92TqIAAeRakWSscWMh34cHj53QvFtGUbJvf7hyvXxyxOVovZ3YWgQxAJ5f8zC1zKATnnmngIEdbZy9BxZPvX4qw5pYWG0AJPyAbdUYRqfoba+kFsAWIXLWsamW6BVJ/qROm+bj0z7RsrcphZwk+ECxpCwU8Y5qkgthfcvhnMnYBOrCJDZFSe5c1Vh3A8Z+59JCGDceWubJvf0ZIfi/fiMJN8EO3w+mP/bLvTob5RsKNjLkbOyjjQ+9XRED4sazctdC8LPeGBcGyfrAItbi9K+xj6IwZH0M1NN7kn5l99j/2Bjym5YxmspG+tPT2w5Mo8TvLb0+2krHQ0NcsMj+ijjwkVuuC1s35VRVapPPQO6wG6kjr19zxvizsnpe2GrSc55xOtZlYekeGPQWX0R5VCyZ7WdEC7NnWLZFzyRuVMmfua4BMvJCkmjJJmHBCXnYKyQbwMWNF397u/YSFxWXQFzOoSXSkwYsFKMMoeTEhjVa2EIGAjhT+OuP/H5MsD8oVGcVQ4riaZfo//qvB70t9C8L7BGAii7xssIV3shoNrZPogdAKJNm6UeQFXFaXIhGpPoA/aEaY7YhENpUCXX6L0PiYBZCeP5j7wFNoW9udPGSpLUb+c86mXjE3pd6s1B2roLKeCNFc+R8EwyQoEL6KX3g1ZzJuPAGP6S+RhLbKMGVdzhJlsydWjY9LaJvnO8+ycaj3Vu/AILxKkVlPexKMNYzgzP32zvWc4MC58L+ntQkPWAxw6du6zd07O2nOQb0EKJGTuI19HZofUXGEaH093p9UQaaHYaWp728WKkSvkXbryDjMbzWxCUoz01xoFg5k6sqoj5z7UoDx8l7Hpg8sgZ741dfjvNci3Jxs6p4qPMRr0ZqZipiP+J+JjwW6PxWuSXBuIvmjRJoVO+0XghrTHBef2VEBeCND1ss0sFaOlMlHcUZHv1UVHm9kM4ZSYi5LfjiQWmRMwsfHhybD/zCRj2bNAyNk382WZb/KDUYJqXx5/lMTUeGab+KnaSfOt1JZ/FSmIXT+vK6kFKB0kBQBMGh0VtIXyrWlGcZI3/TM+rpNmV9agqsukWCPZ2ydZaoSwUhvR5cMVU+EBhopTw1VJgTBsGEOiKPtXYA1KrTE33nxf1Afsx8F9o+kYdC7us8D4/2SPkdY74qWkownQtiz62zIjqRIrW7LDqvaM0jUvyWLljVQSei+pBp+8C93oqE9fvqemqZxrKXhqE1PT+5YaUydWP92nmdSYZ0pk5PuCjbx82DKC7/ud7RIbgwyJn3bb70Pvge+7A1a4652dUBbdfdmod7L2tS41ySg/XMlU+Q5AfzUGwkdGrLEjSy5Df6diGtXRta3i4JlwcP+B0/NJTbglcLAeey60tMbf115+aIIqNMzbGMrOeleJOQTqx0WnWzvTmjjwNJGX3LmqfoLsDtbWd2GhiWBa6+oXaDmazkJ8ZDnRc+6eKGF8t3tOm8Kbq5V2FcIibS8w+mXuJ+CDAj6FfLMn7+U4jKtaEGrW3g4z8kAqGx6hheFHNb38bHhtIBGyKmaIDfQ8RFgmoB4CQVFx9xxypVqmhnO9CEt7J0fqzrJhhDMJZ7FXHt/iynKybl8D7aoOpjpaxzLiTOdwLPZwfbAMaJ/4eZhExmHa9z/iPtgR7VVeRNp3JdyKhl/2D3yNa/0YSdaGQNH1e5fPGuv9F9ZFQ/GlrU2gnpp6WLsZkUwNKpQDWjulCeahYBmoLsKMgbpGb/zBgY7iSfQuq8VdAhwEDwjpc4ZOaUXCmo0vd1HHsxVxOHpF11QNGkVphGsYO18vXYPMl5fHnX+Idu5WW3iTt68Z09UN6sMmLASdFKyRQU41jkROd4n8qciHPo/BksNr8zjJFYeZzLSuKclqIW2NXmbZvI+/wWJi7gKnlSZ6zp1xbYcVd3RgaiTeC1BoP2WoidKBac+wYAS54Y143itlxq5FTH4/dv0tZcV54+nE7YHTMa73kf6X7Eh3ELAlYEzYmm1ncdepFu3Vk3O6g9HK0Bi811lAdeB5ThiI0z+DJwTGz+UYnFXxU88ITP9HX96q2RQk3tUZOLLY7fBEDyE4GwKD7b+OAkKqqnkOSQs8vaZ/1WdoOIIT6jgkI4QVcj3FdVseuQ67pHAxTkoukN71ohRpGbefQqxrH3xkmUkVkoKxSqtL9i2rDNX2PP6OmiNBKDKtcNFD/+bOpXJ0cknlhEpsijEUK/tJBY0bqdbJqhQQcggOdnJ2L+6i6WjJvF0ejSRyFLnmoX/HRY9VXFdxGHUGBSFRKizcGvFvT7LnI8EY96ZZqKbsBN+jPe882ZSyigRZ7J2MDnP1ViZMzuBn0PmjsG+08kKFUK2CvVaZ/qMF84DlPmWoyXJQguL5PdrMhQHaz7aQqtV5b3S0Lt17YMFcqjB8e7Dne4ZtjjpTP/7hmkvJ296qPpp0+2/12I21d5dd4lg4HEEMM9rRC5oqtjtC2PYtp5lITSSEJLBuW5nx+HXRwV3D2qvT9k+yWX2oVrUaOGiMRCVcSpDXioXuU4UdZAisu5Z+IkJ/8aB69Ez1GzVaKBf4ZKa9cp7FmiV0K/jSproTQCYqq0DO3yv9PNDr4ksPVDl0oEoPsCKlbYAW1Jum9CU+r5ss9BXIGMRUzkWtmzg0TJNf1IBS+wdn8B5u3uQWqX/3v5U2GasPB6KqHSCmK1MoNwLuO4ZHzrV/DyYwbm608Ew1zErKgCHHHNuA4w5uPYCqhb04ZWstWvEFkjMOByqP2c1YuS+HF15CTIiRI/6SseMPEsAt4UXXGzZJ2hQNVnqcCY6HEeU2QMPPj6GNLTZv/tUQN/jJxVQe3QmgZ1Ey6Lg/BW5TGy9qXcw+RfuG4ah1BlBbMgt2I6f06NfmzgGB8zac79Ds2ZkXrYASTySREDUrsYwCWjol32MTNIp7IwxXs8gBKEYt7/ZZ8PEprtSaS144wLOq0DdT8GYQ1SaK7nVFQ9knnKxszQIW8Hfosfw4AxG0WGpoZld5fmJ9FitVNS6FB3QJQVwesW1o3cse8aNhQaJe4zSoQHLOa2qx5ww6qBFVLegaAm9GoHWY0fsY9ftpL9ekwovehjArxDJWB/QxH3aDJ4orHik8ypiQ2Hv8U2I+XwGS7aHtLFD77EiCvaRf9ZysnWWLsV+FbKzDiOTWGDj+WDs8Y20MZURUC2ZcAQZxmEXDOVkRJAvyTm3xVusMd2bkALkLRIIhUkhKrEgKPL6jO8um0drEB80Fo1GvrzsDXETYeoO6HoKkEV0fWroWDzCL86R+rtve/yo00TBrScbdYNn0vzMFSc66Dwkp7KXVJlLrAjXr9rVO2MpHFx77BjYwtOazvxcRmz1EtOE2hEZLjqIv3zcwZ0OmQor67NlBlmoqmkldifJu5RLtOq9Fot6UiCxWKjHcInoKHU9nDoMeQ2ZS5sKler5JJPKPOcCpbv5kQEOdLjcLBt+6lNig2OFiw3sujA3vnwhv3ZOOk//4E3ql6QLMj5JXlXcgTfJyjmP/m3hIsmk96dDV3DqvD+4y7MvAwsNY1yzA0fJNkeQYu56SLZDFgai65Ocs+BHA2tchVC98OiwUH9wGjfYqSTkplx11cSbejj3AhaCZfDinSnyDGr0qvhaMK+x5cJs52zPMTHOUW9Vt4GO90+cMf0+PWesnY9E0xrysRKRDaMGXZDl8OQ1aeWok7u0PK51+O1WtktzSGSXIs9ZwB1DUIHEO/FXPNdVHlzNoB92b/QWa/ZOS/ISMXAROh3W4HpuQhB3BPotLhEsF9qDijEAPpQjJqg/UR6Ouca67yIUc5OcN0jjKiVMrV33O45k65dnZ4J+lHwUsxhe0iAJgi3zvOTo4YB0W9y0jbUAHNRpX/75cVvbLcGhvAiQvS9P45AUo1lXYiu0Fp2j7hrKdstMt9ir++JLw57ERHzx0wPv9fo9b3X7spF8HpVUthz5AptbV6CB1oaTadnnFBa2eAeerKnp5UTzshAgFQajtAYRsUwqo54kdkpPpljIBc1J4GYzKrVReeykBMx6DFwHii3FWc+8XwSh9NQEsxSx2JQ7tfMpBA3VdGZfyalBQSvKGiyw78PFaUvmuTHPOy07e9gb4YCuvqQGarmuqeFHSy0ww6KwXHCRuCibVGO1V/A/HPVrmlPhD5K4UQ99V6wGKOZi84uaiOfqR+lSA4zSZREHh2FKrYGDh0+4EYPqT8MnPGe8UeuvF27Ldb5+tiqEaLaO+jkwq0MOi30cF1k2GuyZ+F9LyO+AOexpS36Ld1c3Sm54aGaXiAcytq/caUBiXjBTMnZQX1cTIXYfl0a5TV+o3kbnUA60Ttg3CsHdjiIVECO0qfgGVSHzWiW6h5M8EPbsKCwJ0MJC943M6U+omIGwIxBr1uHLH3kvutjfl9i8bSFhn1JqNxkKIP3NgakiILYCWNvB0mNEFUYUtW2gwELmQ2La5zPpEc0lIqiaWIzBx/nMC8C5umWbLk+nK7xI/UnXxeEWKXBTr/meug/VKHFUxD/YoEn304qw/j0h9RZIF+FcDCAexp8YR6wJ/lS6EUNxiFdE1Z+UDgi8bl+xJRFi0FsuiDZWqzm8KNzbyJWU6y/aGYwSTJPb/DnjVOclQ5VRKEFhREjSrPxg7CSuqPXTCbcK6xWJ9Djh4hHt5d/xeFNJJA0gObzsdJEWX605E+NjbNhlwZUmk1fKo3DK4StODJtNtiAC/4YEDgXgd0DUI/H/G8hvhwGsK95GTryDMaQUwVjo3f1o5/zmlZk2AHssWmCSUt8XcYTsczgrA53VByAOusbS/EpvtQxy1dDwZeUSML5EwL9JUNFaht65X3dpo1KiaLYdEni9cqw3CGYPVY98Kleay6zZK93c5FWtcy+UzWE1W13P3FlmLRDtHuoqQZAA7xC+HJqvYim6iW0KMz/WYwGY9k9aS7NRhcpXPdK8I3EMEtosMJ34+8hNTv1cARR/CkDpydz+FPAa7rAkLReIuGvkH/GF6p8SDHHAEjMbO/+kJaFOr1AZhshZnD4U7ml2fcO1v/KIF7vabdjCLK+lxzRavGa3RPlOBx/oB4egnB4OE7cvsy5ZAAp6ZABwyzjpK/bAQetinpum1Uqoki/0P3CdJ2i2+TKPwPo9o5AcfVPl7eoJAzNBGyptYGjYe3yGp/UAYhBAvN4jNlFzDkTpe2ULQQQp1by1/R8gN/pCaaubFvkU9FyFwD1sNbueuYipZWwBQLpkaQLdhepPIjqC9NQbaRQxq22BwNtYbkX5stkhNbW/y/0721SNN+5qBwiOhAHfZb8EmcXwvyKj15Jsxo73KZ1JICSSl7I6DRMJ1cag3pUnsmX/gU8auzomjjHCflLfA8AQ6V5oAJRcj1TCPuY6daFwL7CJUOJnuwgJY9xsHlO8z27WITE8lACNO62k/rtvIlXR5LX4c2D0SVmU//ccwf9B8Whu0MfA/L9woVuksioxp0PRyIzDIcz8YrMXMO2AodIMHKuVaiem9o8go+s6xC4v+kXhfqDMsanLn/p3vWDFltCOPljHaG++2TS+Uz8KtaY65Ts+3TSJdP1bRw2EpQOmu5uJFZbuDB+km41vmxUsJJ6Ik3pFm1LvaHrURBPFnm98u/+fTBvo3wwml7U48eCfuQUnomqOgiDwqfxwdiMRcb9sgXAltQhWglM8pYXVqURHJM4hE+cScQY965ToOe2o3R5iuRao7eyCdt+CXTXUGYuhHfx20KM7GEyuxPL6pio7DFewnIQ3eE3PhLS+Q5EI7VQ+tLFMWRcfBfT3SpnrnszNzWofiPl+pUfN7EH8+/0ZZKLIIWcsadyWuzEDnsA7APDheR72ZqFajEmqpf+ZECZsfBpON57PpgcYaqa+pkInj5tpX4NGRSNqFyRWu4BTaZyer2gAHj3CPqu9S/wIG2RDJfzzMModfalEVVnjM9gyTbk5P4q1bv7LYcKRphf/0Ck/5/qx76HhSnrc8W7BTq/tcYWAnjqPWfnZOzJ/WUzJyoXrZm+3MOvM74ehliXAhV1S9JNcP0agdUIJLB/iSiXyki7ASmxuYfV4MjSB/EmKYYaxgzui1Ytvu5mO0ee9j0yp+n/+OyARyW1awDaypXje/RC1dwmnRePPRelDYqvUDBLoKEyk/RPyTHsGu7wwSeNrYFJBJ5niKMh7NZF1++goI0C87mP0fLHXxY3wFPd1lDjTeAmMn3twNo/kY8at/ewT2OY0wxEHJYwS6PZ1Zg5zJVgfZO2uWrKcW/VilA5JBvzEkFA48DOcX7c9mbsLI/sFxu5w5k/9dHuRSsnmHQOZCBoLc5cPlJzaaYd2L6mKsQjQO2zdav95j4yLynLSqXMIj4HPfoO1KDGM/BCUDPDCQY36p5GoSJ6AeLJtSh/zxStbDD+GbuhKXGkr/4CEjnMtDaxO1sC0Vja7XhKHmFrbrMC77hvRgFVgWM8Q6r0TwkMTFhaIcykjPq+rB5yItHwppWGSWexAKmCdq4PoSD6SWzUpBRBYjM9WPlCRQsdalyibv2mKipbt1zpkSOGD94QDmhs1uOoa6lyQ6hasUu9GzvxEFeQuO1ALC08CGZs8KXM9EH/Y5YN6TgRLznZHY0lvqzVX4Y/prAwOFB8SC+nDmnoGGAIWJAyPk+6XFVzXVnL2rXw7eCdFnp7au5jHw03ErLSjxyucB4flvoTgLaJIuuMIHv7yFoCr6L+kdo9WxZKI0X+nP54qJG1r8VDz6dPgayM2RmNXFUxsO6BYbj/XHIWEuUmSbeh/vISV0I3zpQkk5tmRjh2eqiAbXxkvaIxF+I/lIvv0QQtSDi6zZpcObmv5LbQMHn37zF5+AsSwOb+GKtzeTDprCOTxtJXKtE5qeBoK1QOkViKx7BhV+ukObDi92f5oNxfsv59m7KXestSyOzVb15oZ8ZJGNHpTeLuFcWbJ4qvv5u7E5bO/LUlrxadg2JVt2TOsGxhyp0Fp3WuzLXaciZl105NqRReu9586PbJ5XOVTRy2A0u//1qmr1oV8EVYwRoCsDMpG+EZRawKbbhppYRWI6JgnC+sdkXxCV8ifM20+InnNp0OLCC87vf7qb+OAuopWK5Zng6o1dK/DcZCe+Kn3wZmFHaahI4nRcxij/VyGantoJIktgSsaW0L/EGHILK8n8Xad+H0f5C3AkWgKZrv1mmE2wOGe5B8erAjN8U40S9N/h/EjE+fc9EPK4D+ty30/DBdTHHeQ7P0zK5Au3A8CROVWe8U5Bi5dqNDZjY9iilbTwMizla7YHeI4sUmFu3Y0bbJZmg1Q4rA1b9WvP0Z8Rg7cqmyfQ3gULxRd+cZcm+LusaCzuy0F3ymCh4mW+54EOnOAJmnyGdX08R+xO9KH9V/2lXXZDA/mXieXlRplEqKRUJtHLrtIjUMcQH/tN/AH1Lf1UVp8Z2ddXIDnCzgaQunfvdWed3m1ylbh5HhcZF9gXwkt7m8GCZwsuoBOwgcLygPewvv/pBSnv/V9KnGbFPWsTA3LtmpubKDGuNTCnWpmScr+ZZskMyJpVY99fJhJ/HCvPiz3w0Sq4Nl1VB01phxeMCj/bMLddwu/Edqvyij8bgVrkAEQK3RG627lJO1H49zel+Fv80KZLENSvU3ivq2daxu1DcwrvtC1g8MnaKejJgUyQgyNnMCp/SNUoBoiBJatKN27NjeEXJMlQA9rP7UlMIDjZDjqUBdQnCAznsVMcW+nYRH7WUXnbHh0Fnl5GNH5jsXLrgsLmdS2RzQ/+FqQw9Tt6HlFyPy5zvHc1zpsvWoxaOu6a1s1+306b/aa8kU5XDQPAIXyGtKws0k+7+23aHzrZ2CdM1bj9AKHNsYMQIzGPhlP2+DBuSJMbTnFGN4psRoTJudqfQsyle/t1zFx6CCtPinBw/8kWl5YUordLReOufkfscRBunp/9T6QWRbM43Zrikl4Mz2GEaIoiTHTWReDsZQjK3NSawhNIfw/OM9Q0YW1clJoDGSL9ihh1+5+yHsBoJwDxb26WJPqvAyeYg1HwurmXhr70V+lQFB0mZ3gaz2EiJh+u9Dkb6UMfNoYjZV+Vp3G5eORK/HNeklzuKBx6alozZF+Cjk5MHtIzJOLQh3CHoJzg/uY/oNLFFGSAYbA6MTnvJuck0vEkgpn+JuYSnI59ZX9PLXB2QZUxsshiFwglPvBCUz3h5oTp0kwCFkJbyri0uWwiqdw0BV+4Hhcta5M7wVZmTN6w9+nnjzskzJAQebq91jJc/nuyQ5HgZ2Fp7H7pIwIkUrNU/t6TMKPYIo88vgyfklBuDeexBwGizHgjgE55jDCX4OQSbHmjMHQF8MvzSkOeLsc1mXSEhKV5OAN10z8TJvEZwV6f2knjejEppIc44IUtCcqA++iCSLjapPPiElnRv4pYoJ+XeQYf5JZOEE6S5J1ljX6Z/mRP9RdwH5B8eRve1AI8gAAYq1B0YbIY2vfTa5M4O1iE0KeZepVLLDW2IHXCGtCRUDQQWLAGd9dd/DzKltnQQHKZs6CkeFjgok9rz/qx7aeAbJ2dSM7S1LjsfBKjQW0Re8s7z0q1Tjzrmoboh8fTsE5X0T4TOvEMvw6IJxnN8MHZF6fZYU7jyQTXMtVicOdJ0pE1fknb6unkTUY/U7JJa5YmDn7UM1Tdi54ILwVvrYHkQ10k59fqxIW2d/y6s7q3t5x/iS0zcGUZJ990O2ziAx24K6rmqB83RfP7AsnYAQgDSlJrTssVN5IjTcNnhv6YqcK1D4eY57zAAWORHTdbRNsjC/6VVJbFVcqoaEDT/Spax3VxTEjres3Vp7EX5iX7tdDQP6noJ8we3eV8OF76uxMlrJzq65wribeli7M4WeteOaQjDDrurp+3QtFZ1MliujU/HsYpkxvzqhJNA1Coq5N2LNOvnQEDqX+AF+gN5SM+NEMkdVoHZ7HevOnVIJY+JMDObDIxrR5jecNg9z1U3ZT7g9bH3jS+aZd3hs8DI3q+l+jDcKyAwVyG8WV1GujC57tFQxwcwgB4aapjdQFV8uV1nPEj0mLFz8wGXsxyUke1lPttFULdnZpm6wdH4XfN/ALNDR43RGAy3VYaShPQI4ZCe0BlRWEgfbXmjdd+1ronno33WoGYynTtu/nNOerpfvNUoaXBOzT3Oogbru67/ucqpP8PnFxEXLGW6NFMl1pHvFj6yBXHOaNDS5i9RQBaSUJ5/iXZhtllkUTLCPxvA4SNZfL+i8qx91Xpy5gDjfnaOxgD9ULVcDHfe6EJOmuZ3/PdTXxCMM9OhYeQcCNtLCT2+Zaf67G18X0gp1gJREcG5kCMu13E2PiJ60X5l9gkxU3VXvtGUZpwq5BpgIrNnKhXaJWM8t+bTtbs2hPTCF0+0nvoQKfJ7RQlzmHlPYjQhh5uyCGSmF2o+PinVdYTXyJxCqFLN9Ab4DgG5uhY3xdn4Lm3REyIInGKhJtPs8OXRxhTG/xx645wkNpL0IDocYyWVOGYq+LVU2TpgaPQaUzYQSChOmNk4ZxEI1vWQjarJ+wJ3SZwhbouUiOGnkN4Wwpdm3s+CXjyLg08y1MTIDenyUTsDlieM7OAN9eZdbz8wO1SZO8k+m9ESbco2zsaHp+i8gqm41kCT7o6sBJEFC4stCVLepX4A78qoa9zlSgnx5cVVx6MLzrIGtSyBbrCAawRRfiykGg3U2QB8gygqM0YyGWO7QQ+7Lc6ZZbojLm7pUyclhWsGy1mnK7dS1B0LYLr7Lb1TOcRAT76CWrrLy8op597lDtrnSx7wUihFFqBJJ88P+5reOnzKgGhA5TbPDVIbhqxuRMsOG7p400O17oCEUG0l3fe8IH2A8AxwEGWCauzpFzylb5QKvedxxe0qNEJKSSKfOZjS/7tdOGG/EVE7DyGvLsmqdC3n+QDgR7srvZi6NBtxauC30/6D7jnT4Pyu5KSneBp24RBL99pICD51moQ+UM+kkw91Tn9uHoDR9bkbqCuqoBN3YPQnqcIUQgsR5FwqfzeXbF97HT8FeRreyiF1BBB1N5/+LwxbULLhQ7b6kQQUgHnF3AI8ICl0J9mNbHjRhaRqPlT34rr0qdFtyux0WJgJ1GoBc6riKHfUWrAx14XSLLEkoSyHnFtE1zmj5CbMv0gLrlRn3/5AVubYEC+P3c+w2+rI4jt1nHX/fcngHjGEUM1uGXgIYHF2FLJWJD6wrOKHobOanfmDUx0uqmkpij/QavDRBxUQTU6lL5IDUiroUZhS++aZdg7m3GdQR5Qo457yaILThs4e1oor4on3hUCc4QsyYI6w5whxNlIWJkVttvTT+b9wRXocVSHM+kKzBZpUdTcMDMS7xPcHXp4CKMT1FUrgG9LX7RnKzksGsNhMbNq/V9rONOl6ARRh5WnikNmGvtLXwt4HS9+GaGryPquDMPCgvErOGO45ZPEBswUu81g06/5A0izakDXGJJQlJE7WVsfMzD7EI6dbeOEdRc8XuDnxD6TJ53ZKqXqRl3HiBjmVUV/dZ5K1ZJSDE9oucr3eicAzSSBU/VUoAPWSBRqeEcu3Ki7ARRTmFQduJQbVym5u9ro6iiyUTT6A9VHytMQocibA999hu6YgBlmlLObkQuxC2Ry+u1mDWAYAbRbU7wcHl9bEL4tjvdnz5VFuUcYEi7XVA4rd6PrNG3lpgEvDC8NYGkHngordWDfzFGdrqoYWXLo0jIagwdpKsUhVRtb91ZPvF8wSSFAe7CkTKQDFtSeKDIdDWenAZS7bWWM/Ii7wdJztKInj88RZpb7mCa0ZaOaPCOliK107iZnm6vUsGpUNNzha/9Gk4NtqUSmDZCSh4b35MlwA7JCzN4H+1etholf0DINV4R5W8DUhqGG+6EF9HNGD6VIACKuMLNs84HJ2FqWsOrYsQCttjeemLnDXGzsOePlR6TQfIimu5d8rtD3hcYCtHdVNWgj82PjBDT1I66ydQjfWKKB4og0jV33Y2gtsZILBfxnrsS71L/1fqcGNPst+dbo4tMoJ7a0TGi3w+hnY9HPsRC7d453ahfC0HIKlgYZV5R9hNYQquvKXOwewLtbGstfW1lq/Ut5GDH4uaqaxLo7UUW2DltC/7+/YDaALr941VoMYFG/ivkgkkVQj+z/M+m7AdEcsYU7arj58AoUhjWKPGx2hl6kBvigpM8fCFWobvCZzVFscpRWjtiXO54h3pYvCixltuXo7bkm7vos2ENR9AP5zPPZFeDG8GEMMnYII3wTwfJeKrSyELG9zkWma2bU5jW2z2np4GOPLij7WGj941H2FDt2ubBtbrfIBVXJv3ReqBYozKPQZ77OJorOIfeyXFgLDi0//73sT5D94R/W11cjZ38jvXZ6iYI5RINWDAFNzzMbQGjrL6zomEu9xebV7vU6745F9+QxYKZ4z4GQUAuJ3EqWzrUjpk295lmkYZbkk1IN8avCdzfK9Fdhc2oYvhqvftU+KdKvACzWaqhypj5AgYVOhEYknwYGs83rpu4kkQKgTeYHzMjR8RK4yEEFGc2QjKTyUECbIC2DNb5UeQWx87ba2Vzfb44ZWhg3kJVNPBLmqPKI4N1VsAzsqPYWd8v8ywavojMFn6fsPGNpZ+17ZMCMmkB2IDvIRcvkBagwKo6UoOHiGVMLYVRVs8joKbhJ9jKV+wN+qhCYQjH5QA+qTV2WJMjO5++YpV3vIijEG7IXEz3m8bjWv2oigso00FOeUsQsFALlUAY3+OhgDDiH29W6XT4d/LnrcApF8LP5ql+GXU6acqN5CY2woltHUW1SJ9UMsQFjEq0o14mKan3+fhS6fTzYKFzWl5uuevnGavVRxbCMojD/LHlRKeJG5ZNxwxShl3Wwyb6xkF3ToCDoWIEXeGG0f86t6BAa2oW1EiDVxrlQnkcuyh/C6gxLhja+EZo+SOr/AubVOHAv+EaKXpJewk/Bxon4BX6ypBOHcazPSwZcLzwRs1pUvfsBmNNbA/uPi1hR+aUumMlo2oCfdSISEWOhCfiSwKS321JpTOFVo6figy5Q2XxFIlXMfXidgKJJOgTOPWE9ylsncJUD7Rqt9DUnSXp9SuHvy53xysz9c3shWFaAcsFZCGap8AkEenJv6uP4+yJj84b9hjM6wioQJDtas0k4O/p965vc/Nei2hPaxAHRDlAW/jcZWjnGhP4D0ETjcLxzJ7PlxtKEr38rXewpmvs0tLGPTyDoeXImpKfViBnJ84nSlwqL1SKSajV/3wjbsTbhyMWANFXbiRlOMndK5ihOxnIiFEpTXFeWJbZSBZXHikjBYmCeMqt++OEWGtkF3RE2USfQPNnPBh0L2EqfywyOhMNrZPNfdFf23jD8o5DHZg6ScMhbgpcZsFXoO6YXSS5CE7BAlAXOIaMaiF+GD1EPvisvPUFTyOjPj0Jj+yg1aDFiONDHx6ulE4rQbOceMKCrjPkab09uDKg1MkzhxCg948tQYCpF49HqaYD7oJzCTTkvmW7GfwZo3cPXZEoevu8RYyMe2wN92FQMYgwEE0ehoskeIcee2Zm3+8XZlI5FozfEnCerp3g7bHVyKcWFm7cRoZ2RwKhcHVJ+6G5xcsB/wBjGvBfk8rQzr+gChMsOTFEbNhKbyVlrWYhrLhK+y/yDwdDqPSyg91wvzZVBscek0cMmC6D8xH4Tj/4mHx/Do69tzWp9Hrb7UH1gUFH6fkjsDi2oB0a9NHQbTKoG5zOaQwthUGLcDPd/fhduONrimdRmove5t/NLgzjLd9q8Juunnd+YLwg2Z87rsusia5BDaZ2MmNkx4fidUg1rgsyXgg6XCTT498bX0l1KvU1fs/QbySSwnoxrGU2vCVN8PzSDp5EgyQAe1yJ61sJxFb0NPY2Js5wOg6Ao3U9+8JAWP+leEwJBXznDzpP2bamXJT1xfpD2QuOQZwdk+ZSgyR6Hul7fTfuWEmc8G+7G8clfmqAelxIt5GhrsjvdtPa99IPejuO2txtbdwqcvsqqdSSEByKg4BmHooHnvSB8rohOb5xHNFCfIY7wiubw7cHRU9OukcoM7QZWsha1XogrsWXvNrEjqcwmEEsXcLm3FNnIEVO7lconxDCiBCJRGGH1riNRUeBKB0nDki5JpNwPG90OsdoAuzzvWX/gE20qBLtn4Z4Z1eAGYP/O0ktuX+UPfS6pNHrPIqwQYx5lj9jHi+Qol4dspuLCdE8TBWHg6J3gVZlDQxieLgiG8bvKi+n6QTpJUG+h3NBXjMALY06L2EgjPpL8MkT5k6u7FNYskoF2Z7lsIkyKTgiqLPznOB+Zk26pwdeVG5FMSPhOc6VWBBaW+WpymUfVBI57G6NtgfODSl2HQ+E0a3k7Xk8vc6ya+/X8MFi3bAmj+KtTtj4ZZgLvGt9rtYnS3cXKSjGf23zKxUM29RLV1U9s7XAiAOhO5KLcXetAL6S5fMldySO1lbKepWAI4CPwJ4hyCQATtr5pcWN0cISrA+cN600p7hSVvLtxkr3zbHwmrwCmAO5lS6L4nEDvcutJ+CzsKy7mKVfXRyS9Khh2xMV0CDccANz/O4KNPeKEiPwz78Rzp637CgR/86fov+Y14V3RGBcirQGCsDC+gFdrw/OXBCOhu/Za3HY2I27jyrlDyXDxldPcj6PL2YO+0qU+bsTYVWfqE+JVK5S4wWRijKLEdBTaWOSp5E6A40Hke4BEP9SEoxPdUievRGoLasdBOTMDJ3KleCZtbj7p7WjAl8CnbwHfWGXuQfz9K+EdtLjvQqYpvCbhXR1no3z+VLiT1KK4dRdlYSP/JG/aRC2zxqax0ugsmDvlw3t/cWzZz7/Jr2DqZ7DtN2jDSY0MRoan+bNfICwTmmU4HzoTATigRr9JaAzBbfHdKJ8gH5cczFLn1/sPzMm/Sz+zzU1sbg1MdeI9V8lq8atM3AplE2BQRGYXD0JLdt82zp2mW+uX9NFMIyTIuc6QtYV3kMKkXoLKPpfAmWhb5NHEk+XaCWHXydH0WqOUvUixkf8siaI1iXX7qUaGkxMt0qimZSAlBpd9zqfos1E0pWS8SamCg0l2Z08OKmiOqNGmEoqGs9ben4964xcCx3jreRsCk+ljADxo2HanWLPAcIzfy8FRdK6Qfagy6hVqA3f0N5YHWT4tajOBTPRvGnGXTKgV5ZNG12JRHb9pOx+bnw5QKR19YLUcz63DddBKc+BsI72ANf2Z+165+lJC3FMBodKQU8MtdlafR8UyQhfK3DhYZ2rIW6ebbT3hj0Go21aRa1MFZRnA2Lzayp4MTFCxVzECTRDESaLf/zJuTD2vRuDEW/KljtDEVkXSsqaowu8ig/vEEDNln+7DxvTtRIe0QUppDHUpIWip5WGJwakoSTeYv9yMTnqGP5/JcsF3On3O2FWP+JqWDaMbHFobDy55cWGYQbwyCsNLG+s7uivnVDUsyCJk1xbrYuBF7HN/A41SPz9htjdGrbnTC7GMXJhAwfUI/LONDkHkw0Ew8H/J4dGugLZK+iDTzKoUUPmdbG5Nq/xvK1I8rZwnBzGKVp7zihXh7M9DfF+c7EiuoGm/B/IZHeWFUGucSbgYxmtTbw+if8vIY4rhs43unp388TYaZ4vSdz6whclgFR5s6FYNxefipvOjdxB2KSzv4Zkq1SdjsjuRcwH1MfdL6sLe0aF0GQc+WBwLHnDX4b0FMHxQD4ZgZXb/8l9ti0/M9E1hb3usZET1oN6qkLtfW6Gy3c5vBONYatsYpoG8jg7CSXfYwtqXIeVkrHFMAbemJw8JDYEmMJrauInjz+qe5KneOYvArB2q7/rHSKzDGwJhZLAE/bEj8xMSyz5McQWOo7E+X+6Dku1NOti1Uk+rId6/c+1LX5BuRFy8v/GjbEfEEhyIKAljlfixUGK2oGg1wIKSzBS6cPHdWbv2PkUWPL8wpUl2K+eWodZABNCidZ+uV25t11HoToOqFgNvslhFIQIzLfa3IyO/HD/QkivU9JI0su9JMSnVClEdFaSlYPG5qNT9VsDAWFh5Mrojw6xeUJ6+s9Ghm0uFmIt9CG1CoogLivp3qkOnjMYAE3ZSlG9Vi86Qa0MQ0P2v1PkU9WksGaaCuUKKxM6YCV17eLkB3wPeDd0+lLJKRyJ082LsoOxWaiYGn04OD/kP3+ulgqqqjRmoQ1yaMTNDksG+kr2fGbBBhIoPq1sIpkJJVFiWgUJGXQW9zZhsfTSMMe44FPYqaLkrv+KLBQK0t/8i9cyh3A3OVUC6S/8FS8YDDqn7Oqxx+AFkRVuKsbtQKrF7tfsDhJLBHghtJ5kOS3Tp36xVYk/CB92TJ4F/SsxvQgZLI49HpEw9OJJiReWRJBsQmt+syx6UNl8EbYnJiCTLTajJbteG1cAPDmaPE9OOD8Ha3GdxiiwbPbbGVvmBB6HzDmf5YdMadnHbLKHiMQPEtKdNAklDA0wTcdu6PzRuURWfGsGKb2sdYY2kPQe6RjF63x/CUN4hyIkLdBjzbPqs6pn9EpGJS/tv3pBX1ZBVfdZuMsknGm6VLl6kJwUs4mR8UTr4OlzlYcvB0dTod3Nm+wDTFxV7Cd9qpFoxRh+f6jxHHTep8ny1eEFkhytYI2PIGF97FIyiltT+mCAxdmfW95Hr+xz56wM0ydcgRwYUNdrNwsyHVESMsiV59oBrCnwfYjdQ8sNhvrJLIDHxrRmx//PBBzgGzv1ncxZFueNg9Iodg3q42APfUt4p/d5Cdc5F43V6tlCI+fAE22Oqc0mkO1YlKhfE96DXU4vKfCgMvKkDbjvoc6krxe3UGtZ+vvNgiB6lM7k+0eguoqZZpY/wSJRlBm4Y1/A3MLMYqVw48MV3lIzoGW1b7rO3hk7E6peg1RdL8FfIr4qsiB0tHrzO0epRaYyrkhxPwO7xUx6efZd+SIkWbJVHc+pU3j6LwgGmlm0tIAe43WMOck8x8LLtgVoDaKqZijzI2JtFDa1nwxKMek8QWiSndm5ovSL0QFykQLXnoGwwlVcPFWwkuI7G+rfYCd71GIT7QGXpelWEO2X50ODKssXO2KtuqEgzK3U2FNMt5ZrGNamDVH5MZmRWrdII5pJzx3SJ2Wlnew1OXqWKgjNZRUBEjM1pAWpTAbSnYuaBCYrxASuXT9j/AeYdldx01vDo9OdVLJtl9fU2hy99f8foC1ms44bG7cwhcbO/eHQBhUPhbaCoCmnQVhzwGExn0SVWM8D4lab6wFyqRvdh/MCLT51V7YyUheHhWghzvxb5+WD7H3iko8gxiXbBI2ySeqQCmMb8RYctnPg5KPBoIgX31b+ocxZIGa5o6PUJmHS7lVzAOf5TVId4bhM6amqbfp6BsLOzx3PPI5bt8ZlnHoZYMNkSlhsGx6Y3GqZo8uvLwjYxdYPQLboom2ffjvPVs7t3FRTHxg49SctDbjliDBKfOgDoH6aAjSJAeJS3tnsU8BvewTGsgUuewVMEOoXLTajtrrzCT6HlnGk24vMdfpe3ghqymkFO0ovzqnAY/9hm0+xFq1M0WPnHqCWrREoVBbXCZ1EgXMGd7/73BEGpFQOJub5E7XROIU6+l4TB3B5QsDeTxzTRmV0Q8GPFEbMecxhWuskmGJjoGUmUdDEFjBIoMdcwTPcy9KwZ52o0TOLDRU561qzjZZMOyj8MyF+12nWUBWtNuHypHYQUsZao2Z22WhGQ8m1Qfa4PxTw3hbomv50GeBdprg4x3My1yTp1VfUwCWmy4LTw3tQuTp413vu+iC/XjR/4imT0S0/Y8WWQCuycL74Z1db51FoRgl0FFQEpr1wzcmhBtwP9FK2REi4mMMw+e39Kz9R3aN3TklaMC/8NVvQedpTjAuFsfhIdFMpJiwgs5556AoHXaxjZlP8giHpUlKIhqy0dbv3R4jUrtxNC7N9rDLHFi+yly5PWZazgipY0Ut7d38eqel/a4PjzPWFBnTdzaKVOqwXtHgvrUAiR5tU6/XyDE+MxD0lx7NVtdLPsLuawIrHIejAHLMZpDdeQr6R+KnAL9vyrL3ISZfkn7m4UHYSgzcuydZpKG8lXvM3seQbdf1zSEqqQIwtsPAcAGILJXOa7zBwzHdGhqgpGN/AeW+Bb9kUDSk1mrM3r9i0O/zX46PQmzI0Eus1G+FFlopORAiErkfAf20zDLeKwtYIMIbTOlyyhTUeVyCinpKGYHXTXv8wM+RbE1SjWMr8pt7iSOmSmGqPe4Awbi082gKP6RH6mKxO63JBQl0CsjW8WVo/J5YswZpJ4L433AIdyLVqNNmE/JJfYF8Kq81ZojKO5wZdkZsdtq+l5rgkZO73Afbz+Ek+GtI78CqhAmwkoobxYYfKUJWNSDJJ5l6I4PVhbEmsgH1mbzNZQUmBCdRA3isBl8K33j87SU6ByqPUR4I208v0y3Wntc/t/nkW8dyAEvcE7/3jBd4oFBQMZML4+VsUD2AzlpcFgpgaL1f/GlXAAEd0yyg3eBshgBZrruLdaZpdABwdUgCiKO9pusUNfH9X1q9naP/lx7xPce2/l4xkcEJ3Jmnu0qPHf0rks1EnD/6Lc8B6nkegeJBtGPouDYG6oQyjHZTG2irNwMz3JQ8nGRWNHSKoFPVIyN5gVKqPtkNNNQaiNphSzkKjcc+YG9NmDtVz8j9sd3+s3yTSoqqlIdEI1H1WtC3vb1vqWt4Nfbs8lNjLNXxeMRmd0p2o/FbXZRn73/JMThTC35hyfe4/zKyvGLyNBsEhAXOQlgS1w8ftPNjT015iwMuGH0arcBLdBqqW50jaD8kw1XeYQaEAn3wpkZO+ddQViDo/+Lc6OrbZygrMcWVJ9jJwVrMDxKap+Rz5OvfSEipcGX95n3vL3LEhANBsj7KFNSx9PIzPCKQK9En64MuKDhmfAEg53y74MP+wK+/68LD6J1qCuT6/E5LJYvxDZvUNU+xZJ1yyWiz22AkswnsqDuFz8dQh3f6EUmUPGynqAA0SQ+207Byc0Ed+9weSgry70n2YZslRz7+MK3HsTuYHWEcGucyBF43k4zuqWRcW7C6M1xlH/rBpmkBchp39wdyo00FPhcNnGhYjHTbvsRdK1woobY1k8nf4bvcI+mPIIKCFFBu4nz2xKbDPE4/udU1SWIFjXX9P9O6rJUaWUOrMpl759yu8Wfgnou4aiKALUTbw/UwxdpTY94/joWnNwE+RQ7Svdfqy90NEyoaokoFWe6aB8iqqq+6A4aROZ63MmZishJFc3DwGIzqoIYbF99EmMFI8rY5Js6dCzvJEQIXNLZh6K8AfEgVMNFx6AZ9K44cPZ7Yqsno38C2COB4SjGumWfvbL07f3vYmP7eRhJP4Lr1EYL6KTV2+CXUQf4OqzpG+vW4XxoJgYQ1zwa/4Ol0fho2kiYX4KSILKfmEFyC2NnsiBzX6fuZo3B8fdLePG5CbwJA2QUXuIWNT9PfbFJIQzbC/A2ywejXDPGM537suTUmzaHcJqCkspOBoTt73Jbpn+Gtbde2fAG9IGduno76r1vFUNMKnDhpJZ9y7wyDrjcLXQD4qr0UNlCiJ5F5ES3i+k7BMxF9HTI/Ol1a4AHZwz+uN4ythNtZAfgUIHJRr4748kWTlZcAF1H+EzJg4LbIbgnW1y+EUV+ppAR0CPYTmSCt6+jYg2U4MaRKRoXiJtSY9ggT87swos9zALT56v2EbSQGGhxzZHRIMyFx/Y4/egyTG8bB3XWsjx3Nv6YRda7lrRJFGhGZxpmnDAxELVmXS7JyicCu9EDZmHZIUWRv8qxvqPDQ7vB8X4hN0Ui056h4t1xpHAAqrjeIwq2yPmL179kjy4Ld5SxLjjwc4VMW6+OfiMYruyuSVHV7JrWbTuD3XE5ebokZJkrQ3t86kMuaYSz4hrWgFi7h6pG51eD3XC0FWOltIAyIDvhoGGta/Q6IDuP1fqjIcpt4DVAzzXwIYHGG91S9cj7r0d6k9RSTgoXu+oQ7MXcxmOWtqD9Zlgn6A14n4jFlmaeiGqGMKUVGk6tSWFrz1cwTrdSeySRKLu3zpBhxT1KD8hQmc6b5uYGBIvqiG5xqqrCud/pHVpsmIB6Vw5bnHhI/AdEE40Luz/TZxKqC3xZlsBmnFYr1eo1YTRN7c789zemYgI7N1EOvMRULL9o4cX63MgVIh/Vta2t98dVL+5r49j1OI21dk0tYNXmS1iVs0L8sJC9bZ4hP+ed+J9I0q7tQYtD44guQN17EnLbGnoQiFkCAbKouY3szgHJmfJhaDH+r6Dls1EtEyCZ8wekcSCSXYAUgJfrq8E5GyZsAX7YSps7fQ5U4xiFwqWSuAQoHMUDCRUqMkeHIUOFlgk92/hWPai/Iv+jsG7mc1NlGWBWq0O/Z+DEjHcFHXF52Rbp9HIuK3ZjKY21btDysZ/M0Rb5GIX+afv48DKPHTJrwF31/k4SdPmRI3NMOKlECtcTft6Ij3FlkpOR7MnOTOrT+F7R4vYR72gA5FzJEAMKGztfxAh05p1et5xQ1816CxwgxpcCbcbQ5E8h9s1gJORLRwEeojTvn6v16QCNCrgJQPsV3oVkOgoutHv6macuUv2wKioJEqM0nWMbWbIAhCQdYRqrC/OIaMJc8EccL8Xp+dbD23xLpBWhH3BVjHkTxp2qsz8kaWssfr4ELVBDhIRQC4X4MQzUa3Y5e0xVam4UQBNkUb2SBmSe1NTjY0xM2Pg98y00XfZjG4U8WDDWa0T3WVHDA0LYgClvA+RqUndA3zS7wLsWuv7+g14yGE/FMKscDSIzP4dT9MumKe6j0HEXa9DQg/LbqqA85X97h6scVsofHkurrERiId1zhyFwKwToKpZaPP2SvSx6jwiBZBHplTR0YD72y3NByOsiHYThXpUhDuzFhoCQdjrwlR2e6ZhXhgeRcWfODM1LYweqU0GWDvoxpcpm20hQCyMx+bkLjJRZYBXhMIYXD6aLZEokr8FNzyaAKOFRQacWXn2n9UFAeyJDyrOV8mTCEfTr2wU7QKzl9VaXDj66cUCezsrgHex2EC+uaPKKXdb0r5tOXI0AFwb03dtb3IF1CjKZvsdbicdS8LPEeN/puDfVeSVJjuZEjAbTzTXkzIVc9/hg0sFnE6InObFOSRKKvZDt8cxUIJgrOXumVkGqU575r5smjum2QMhuytEov7/PmzzpmhQr2XDUFJoiAyKAr/m1Xsz2t6ttkpstnEsQoa664uTSU6LZ90EVLDw/VowAH5VijTp5nlqJx0Fknv0gBI1nRtATIcHRN7XuOWpRXyuIdVxsoXrGHZblrk6d79WyHT3LTyHavw14lD52I57PVcXtQOj0tOpCOrnEemdoChWnoPtCyTPL5S29f78JTJfOcPU/zQk8daOXRH6JzZOW9fmbf40ZUyXvXHe5EPOmcUUo1V3Z1EBGt8KoF2+2CZiEMH7QGyhdsDXLnr5wBeXwmMJ+UQ4edcq84Rdz+T6DoFUegDa2ciRj1AcIRbMODab87UR/wfvL6t8u/LHgrz6OTnQdlPhkfQ6lj+4aVdJwYlYE/jD4eTpyJLKcAXS6EQSC5QnqKoyQD/ZT+sTiAYfDs0F89q8Q4lLpvxz+5cqTqlmIXWA77SlzQ7XnR+VaeIIzSDqKhFpBgK7lJlDRxQShqhObGombVZ7LSJqwZ+o7lPC3b9HRUYusVmGjgF6blauOCiYb3AwwIgfcufYmIcbtZ4+ItOiDDiiFsWOgNAeXpInz9rdzXzY99Ue4MDT8UEfBon5pWFzsyaTZxm9r/MbXhmsPulaDuyugkors+n6ihiX3YCzCf28kbngOZxQ3F5H8psQ1p77oWh7PDFXa6lybievKbCl3lQQw70XYJzTXa9UStFtVH+II1iyyIAXJmf5KaPA4oYJbLIKrhRd5u6iAsD3dJeBOeGQzQlmIF98EFk8NCuOtDy+ODnwyBXK7/Kz2sLDJXf9O6zgGXb567brPHDFhRm7A9V20uvWyP8XBvbr3QN5x+uAGJmSLCWEQEJivVcfSEuvy48vXHu36VTkkMSO96WrXgQ7C5xO9CmP7XizZTnhQ5YQdeseUACXj0NJldNAQD1Ch6OTKjbDRiOQUDRTlMAWvpCFQUNohC7AlWmxosIADPd43apvucBCk8UHEpcGyU5ZKvtGUlWWs0LlpuNq7fijo0TqoINwczGCY1wigYNyjQ3xnVm3yDqPBWLmtk6NKuWjCaSY+C8aRHw3f1A0aBdY/gBZftzutYRiDeTCHyxBaiO+tU33wGuG7EepUOCVWJhO7wQZHm5iczD+fkVml2lrrhx22jZmjRVhKaG/lqytqsWe5Lf6c5bF5a5kA5C12oxZR8HwI4FaCeJqUAmGjw7ktU95ls8Bfntt2zz76fuY/M4RdnJ+PZlCS8PeRURKNUqGaPS+l2iH+ivXv+71qr2T7McqIH3wmGqWGB7XL3gQKxaJMBdVP5RPFVfO6Y5kHUAFjc0Aw/D3LCEJYiVEM9/aufE4ranczMtKGgNwwQB3NYpeLoKupZkeXgvNcmsnhk54ESR91ceLbaTH2usJYDJDviyBcX1SOY9pl0lzm3uLlFGWcB082+hSFORWeJ54u6RLBJgK68CxxuifLU34oCec/TJl2YrKhWH4z94NI747Jg6F7vj/wW/Rl4QjE8APw+V8rjR5whm6YZlwh++zaqdaqvQ+/cZYbZhRQCrBtVkjtYBkb4pE107ArbIIFJDPJDBeeYxeYa/8GgErTkNTc7uUBpY04WEgGkkHJJUhwb5rT8ZX/4fjQ63TNz0//XKQD+yp1iy2Bvg6OejXRAsbSt+JBCHI9hSFkUPniO02ngICc3V7gtnu8l3iTJiOj+LAZFUAgUcnYXVnY1wNBujo0TJmWud1Tsizyz3AXpKgWSeQUqrAhIw9af+WCTUxKE0x2AFIeu7oPCFheQi7Daafg161kWaajfW4TBwEP98RS0ZgXBY8H0GMF/e/HVBTtnFBBMfwRdO/cKGwsxltcGbhXsCZvAwiE7+aU3Dj8yoWzc8IqPFI3Dh6hvKcdI3laXKNkLMHi2Xsk03Xq97/EcZCZypxMnQPmUPycauP2ZSm8CZxnMov7R4KdeTsths7KLjTF15Hm8NGkUUDoNufWAa+QWueIssPGzLPJX33tCyNrxi6fiuDDpdmyU+5pvYNNRS9O/Ph8vUU/Pw8z41yEwa8XZ6r323WnK5pAMNrmJDKLL8X8yQlNOEBWQTXBrYH1BJMKyV/84MShurU0b1c+jW71Fy6tZtd34lbyt8TCFprSfpM6z0u+Nm1s68k4+sPaOiqAHKjQxjE5uYQv1B5vQwMyZmYA3aZkX2fSze7MY3lbb/d44040eA2hWtfRmmFs04O61wq3xsaDJGezgY6FbqX7raX6PAlffpkWYwQ0HBY9LkVSy92/Pnxio56peGstMGNnQntplRgbbAXwUtXMO7aKU9ad+un6TPCw0UHuKKWpfpBlETTWDtp0FH6sMsTa6+E/a88J3ByyEwoZYn2aY8FHwOvkTChkZiTXrQaFvZAnxbDjKulvaEiSohUiS/FZQ387L11AAC0VRmWveMXsqOTknXkjvTM/72seT0ZNeAC7bZCI1pupQFTL4H29Ta5NIcspLyHz1J7dxAOTak8riPZCMcNRiCHI5B/5FIzIToA2jUzUNguWR3EzYGBqXXFJ2lskun6gpEygm6hyDKfagdqgG11IMGmerEP1Z1CdhDpBycwqiP/GPL2+zl/phdBC8OtL3ZSq1T/vPteePjMd4Oz/I6mSteXF/Gfpt3mL9SqyA0/2xDm2FWlB2OTheVcv672n8G02gblCyYzoYoOQp7YCooVSPM+5nvNKc/l3cjgF/Qxpm8R+31kUlIHmNTot0DYPEc2N3uBAdCcSBiee7fM72gSc2zD1Gb+mIFIMJacY2OVaL4bcHboQ8/EgOn8sjfH2wwdYpdl3SnEaR5Wzn+rbHfz7klajJolM4d3WSYQprJGtJI52Bni3DfmFetGG9wVGVZ/0zN21O3rkY1kMLnCY2+FQw/tDY9zz4W9rxoq3/AyzdHAlMBy5vE7oT+ZPX6X3BBLmpURvnIemj+zcuW6idPMWgbhVlEiUWrNvTu2bLMyWUJcnLP2p6sVOslnHojxVaqYBD1D60r6NW5O1swjmimtzGqdhk4J9WLG7tMRyIPimtxjRfSNoL+xOfi9wSOl4tRvvGdjMIFPXUirycMSuqfGIt17ax8vfyrNOwRiexZkeSMjyJK/JuqoPz/i8y28PRmYvBLv6+QydMawWvn6U8BQwWuGGzBIln45FiOQJ+9ZY4zkoT4NDDjKB9vE5awS7MUa0Uj690TX9T36ZVFFB3W6QQ3M67EhoUPx7v0D1Tjde7ZCJt70/mY/fCxC3dDksdenj0ekzDKj1PqljAjz4kfxE3C8ZTHFLiwse4/Hi0+P8TJ7T+hBHGP7LSLQp3EaG5dSaOVtsJiNi57phhL3TTnxYUOgK/ed+dTpO3JFXmlt4lJfrsIio0iruTgtKeQNTuokp6cIxsnTyaXJP/H7nIffh8Guy3tGmsc1b8DIwEwZxLleOsiMSXTvgU/VViDtYOHqUmSUfCXUxCb9gO7PGE61WK6zMWXk9kLED28gEqSf/ZGByZ5KDKgCkj2J7XXC4UUP0gFTZb4uKQ69ii7wSTS3jvXGQCjfYE+9XcuxOauJqiFFNSRRyhV2nE0MIWb2+NvRWN9pieWBAIW9jDhnoRX70vvwFLxPFsNdnU6FUK1hF/lod3fXsDhkV407iFQ/9xucoGjm6j2T87XtNX3OLj82Mds4IQautGAhflz0kcsxgmlS7/gHBSdyFjsGozRBpRTTTduU9x2QpKlj4l8s7CpSzEw2ir3VCrBxlay+ZTk1EvEnJ1YWRq0AoE6N4Vym3ARkKA3qGLrln0RC3Z9Zhq9/0J+tEUxNdCQwD+ywd5n7OM02QlCzcAmil3l3ehJWMcuMkMshpEaKT0MsesRwHudwpHEVJugdcWp3/t92WnUi24AzMLwQb3uHr77pzTAOUgFgi5yLlMlqYR0ip5AlQEd4sixbMuZNZ3FpdyDjXS4AaP3haFOCcWlpWl8NYQTJm4LyC7VObMsA53wy0pRTJxo/p3//BhNntvsmQSo0WXy7NOUJoQHJOwyK8kUUdt+wZ0oOU02Bf3Qrk2GzWFG5m73Z1o9rwk3LadgiyBeWDonY/K/VcH0HHFKEd5wSSJh0P4rqEDrBHzh+cWPa3fmKcpcTOm4QEV2DTT/u21uFcN54wiSSeJwekicdwuGxtqxy3NkMIlKW5VHCXEY4u1xqGW+8sHlk5Jc2dmY46IfdrugnjbGa5DHMzUDFe1PDMhNRn+HDSGv+8FhjrNybHGeNo8PKOa/w7wBBmKNEAROFs/sRlym8kZf5ScwLFgh+Om4MozN4Zurjg9ZFVMvDQxlyo7JkkZUrSZhF6HEmhnXzZNVDhv7wmglj7l7rSeGAkyL8N5cTGbZvmJF6utIEPUYrCq/YrE3pBbjvLwXRcE8Rwhkppaa1HYzufAieQDMTaDccvsNMRbttvQOOs5zjJM25lY3tY8j2AmQ2RKRejGlI8/B74X1R3Ka1b1RzwOU9L9HO0IgabRplLFEwRrik8PXN//N/qS3BSQyuVfNfAjch4yJSnerVS6D13wAB9itOTGJMxJu+nO3qikJ6BIVrayLKtFlmHs4kQiWQiN+ouEbcKc6Au+Zv9sww9/RPurJWn733tKQ6vykBljCoMo76WQsfTzvLJIiGSrSyiQ1crDRCBiK9qu/LBtQ5pnr9q/42G7hG8KNCEJ6pKm6UZ10UaC+dAw/hOmq5KeeS5tXQ7NzSiOt52aUmy75nbwsv/LyoxTr9opGwgO2mjOAGAPl0IfArNIrddhRIgLxbLQlHbiRFA0CiQ0zhW0fPLcCLyCW/NcHaLrtyuvKsIVVHh25G2x9sTKcwDdoczdiCAOkeXFa3zAJs5OpEig+3LXOqeF/IzktyXFl0tv21wdqN4zLGHZDI0taykQRkYzpdQLIFd/FYl/jG06Kp5X1arb5V9dlPwu7Cp9fVAysW9J+IpP9x910AhWUzhget8BZkX6mbvidngnypbSJgi3SHIjTWK40BScYRc9h/g0ZXECG2eXAPTPTLy4HGWPgKcezkDd3rYYU9yu92o/pwq/VOPDSSCzvXqym3cnHbktjtFTM0rOUj2IOn2qrfIExGbTHygU+H+Zkgt0nOJwlDOeZDX8spW9MuoYMHMDYXJlOXpdgjQU9TAztxTzqh450ulWZecBYGUZI3e8ycV+ygepZd3gbzjp5H1/SU7rTcn1uf9WQus1aRGHivRZVcvXp7vAuELtGw4HIV3FvwuSaEAjMPzdX5PLAyueGHzINwzDuBwpfeMbuxmZOC0B7WXZb14/8N4pICNPkyGZW3n4dye4Z3YZEOs8+VAC/lz5Q/fxXxtACBUhjtG5aSDTHKVVcQ09nr7L7d1gjogtB5oTyEtw6aZ3HyyxOrOcX0+8e7i66J2KM9mGzCd5MM/7zKUihWlzAxb9asymOzq0ryHgtjkp8LMIFtqYMwMrXzjfbXPhpRZfQnXF0iLcfXJNhxJyCaluPuvljsWY6oiQAW05uIq+R4Uu76KEaUm86v0/tA0D6Oz4QbCnytUnaZlCXOhXCDBbQKDzY/2BwHZTE1iWvYnujyuS+kt74GVDYwOiZW0bmjCZZQlQ/1tpZFmTpkGCPy7FPaWwe1TeiQZRTsFy7BckovnLvIgzThxC5TGdjiU8WEWD+eJDUpqK7HEkqqEvOuGGa9UGKnXElJQajGwE5nYUjNBmFrc4dku6eiTWR3xWOjqN2kF4c3A8+ztwoAvK0uSi3L8XSwyMZ4v6JpDx7Z49BGWgZgxpYyjtF7rInar/BdTprMoCDgv1n7JHz48Qrvd0X+bIGyFHfROiWnrxvrca0H/gT5x0TSWO1GI+POFoyC4XOq2ComdlSMGEdv7fvsmZkcWPxwpBoEtF+tSs0DCyssC7/B3fkFevCNboD4KiOpSoLt9BabQNmFoXnwH/OzdjSlyn3Xs2PAftUe9bKC+Q2DxvCjjRo8N9zsE7sWGG8vjxYQrb3z5xMBIN3j4pV8jCDSntSVDCPqodT90MSzVNbEFDfNc0+kw81kmh1yB3QakaemtpYkApUchyCIubsNwGkmjamgDZgPfS0yI0gsh9lkyFBZHrQJfxXOtXXEyF/sDlgSvPjNTtjulBiJ8BS/9Mx6cLDh93GVJetaIjeaRYK/1d0x+Gidu28xZIAOftGlrg96QjJ82uFF6bUasP3TJdHcS2GRoV9zAbrIbeE3VOII9Dqqv6o0BKhpFC9wRB9n431l534/h6xHcLCVLYOR4BOaKCas/QQDxTVmIl3G4hvB/OwJ0OMOYjQTxU34yMpd4BfPuqzy3ZsHhpwUXW3ZSzK/6T4UJ8zk68WlvdbzmrQMu2UUI33QU5ufUGEx+jmJis+hHTvx9v6fi08fCNlTJGagwfPSYYt5puZ5EpPWw0C402sXujTLWJDFvKPCQ8SEi4Il6BpbRk48irUPbstdpk3HD27QywGhW7XCj420G5XsrIkJBlTxJjnCWVh3274Qo8g/NEOGOd8ePCG29fa4RMJSdBNuYEXIXm9XWskr/LkRY+B2Zs2s2gv509ErQwTHvK2Kl0IeEb4izNNeDlLSPiMilqc0dT1MgbaJiOpEhwrkIr9WKPI9YcAG9HB3DwOCbwrQdJDskU+wJ6eKi4bS5zY9P3qy4EU4eD9hafjGteBSeY/KBOt7SGazGz8SFw0lR7MumCX6vXLLdTTctbvr2xL9nyWlK52yO0NPFbFkTOcrthGnC25u73Lkw0j2luCxEp72yERBxarXwEXIZ14o+of6HLmP6pMHB3AQW+iiVKQmHwaHQTlUWGLosg4dsrtMGtFJogMtPVzrw4nWPDp2g1MdeHBp2WGm1rKV5bLlLNG3IJLDrtty9dVc/W4P2cY6/XXR/jrjjkZ+SndotZX8Yl5d4hYhLgDbNA9APRXIycNOdCVbEPNT3QY/hrrrHTjZPBt/8ZA4+UIRbZqsdz6CnVi72ZkH8PNl9uDtcnW8rijiCc7i1/O4ZsQnehnskP5CTAnTmXr5I2o8PSeNzwl+9qF2XR2xIS/BI1Rh3Vo7Jod0XeMF8lL+i2InEapKXy10yto6ICqtweV53iqDXyydCiwcoQ9AGOXrnobjoIpkulV8Spe0/ukvvzRWhy6tDuw+ym4kNlYl96/YxvVSOMrUQlYs7r6BYaOPnT9Tjx+/EY59Wvbd+FvqRlfP0SVpsuhYNeElt2ZMcp0xm6nzxkd6BN2DppQ5mFTTWvV6hQphKGSayHax+tX+4lk00PlHBMyhKwHacSwjfrYltbN02UOAZ8j4pVesNkTzwpQVym4SsI/9nz2pW1p5Tz4byoUq7aIFr0E465E3kWqEc/TVXSBteCwUMx+iuWPVhtEyN/KDo/79IvjpxSsGJBP/JmvAH7W1h5Sh3tZymY7aKBZEmGEO4IAFnwMmMyAOn3hQKcuVs8l42geUEm6MAvWmHkrP13/e4ogSJcYCG7hKw4/cRFVdY9/s981uk8PymGzUHnd4veAN5wML3QFfS/6syk00JNEfPHST2kpftLPqN+5ijQK63hkCYR0VyK2vTT8RAbibJ8lbT3szS6FDz7Qf8SiLJ1UhjfmJGMVZq3z88Oxwgl5hLep93hssBJTpFvFBNORS7IPQa4iTIVxjAww4GhUw2CVv8BFcRu1xJJwe0+Cy26Z6L0eB8fnl3fU0Vzcg8Deq63U+tniQv30X60HU0EVypF/fjdpSULY++M8SQ54sH4cCkpY5O7lr2kz1oosKRoKte2x7CCv7WFDZer+XBxXbKPrHlaceirokDqnMJ6gCGXydEsArjj2n3wmohanVOuo+aCF+wGI3QyJWazPYGWC19dTjXFuxwO1hyKYEPjd/6u0YhT+8UzrApov8SvcTP7xFrzg2A+X+KI6ppja4fwgScG2zCuKhotVBUDCvsujk8Wxh8guiyEYbzT3+9YBXlkQmSjL6g/YpUWskV9uNYLfaawt/2uKo0gjNYf45g9v+BtxhgN8BQNxZd7AGUcJxsTjG3aQM0K58up7Iwvad71mFy9ce9Q5PpqUN1E72H4aBZdwvz2KOdNHwarva5oO3NuZx+px6x2QlhPyMPFFxXN7FVd7W1YLmit+4pf85iZjI9/jCrRWRc95CBATWgCWxp/DcWANgr+3fphplrDqboWSZ4UjwVuDXnop2EP4FS/nLjr5CvMMICh4PaxOsNnYfY+UQLaaDLRu0NCvKCNpc+BnEnbCl9YpHgzXzOZnVGhnptpJfkz7Fqyt1ZI9i3Lx+NySzv9SmvpdelcXrjxzT/Li2HefVDIIv7fnp9Bhmj8MFwGua0PaMbS+WZs1DkiEr5+GzkCdxFVZ6PhTH5o+DjSUi5b0ZTooVv31HfRlwd8Wo/WVIPvme452OTvjlR5LLLCWT2eMkDwfXIjNz3y7ip+C48vhcnE2n2Ogaglg5Wq0rrKd1S3NvxHUtcFkmvnjh9ECxwk6yvCdzpfm9APhuvtwrKGlj2JvDBuWDdn3vCyZHc9cwLWbraABXQ0MuyFtQ7vFiaYt1YZShsWAwXpNN5v6u4LBRTMNWjfbsQc4s6+QAVJd5rBPI+/xAKY5jQdIdijagiE5IbqO8MfzPQly3KwwPlKwwq/enWx1DL8QAgFcw1Rt3iSF2ahfksB4diaw/2U71MuIhkKD7ABX5OiEMXEEaKDsSPgcTaz/6vj/lfdkjv1GNTN5zGRkbT8xdKEwD9hhBimxfzNXtFxGsjhgwRkdAoKV2PWB4B8EihmLW9TH41OHhG4/p3Y8aQdWFpu9DNx7DYKFf6ygryhH8VFbDZCLNDVOwqa62G4B++oFgggIDTPQ4GJz6peB4NrCMMaGuMNewKj6ZBFsLVkEbzfYANR7qa130QXJnRxwmnPtcnz7xkuhwH6SfE7NVQkpbIK72sZtN5ufcBglYAr9ObU4esRAstm0PHlWOm9+XCvTMRPUfCLGzi6PqaS0Fep7O6AqU17QWtxj/FjLiSQqmtIb+goeP3bm46eKf9IQwMFNFqzb87fFGh99E1lLlgQBGyYhTDqUAvcy3oeajCOCYDXUPvgADq6JuK25j1PmfW2aKXo+3KQ+OhJe9ENPNaWb3Gh05gcis+uqeRI8tB41Itpz4lZf2diy8giY+0IMsLNGIgbb6Opj9PnSyCvmvFp6oxVaGFGbqfqe5vjJryAtReon42pIfccLIVqITPHcLyYZm3y+fPusH656Jqf0yJNte1K5FZXUIMIgJQryVF6wAGoijzdqWvsePos55FAokzvDqEcNlK2Y6vGM11TbSyaLT8rYIKtAv1bhpHfmnff23URl2hRY9blapQp1n1F18ot1T6xnnnY6JEqubHGecN76DdicRSXlgrRHTqTxXeR4DUA3KiWaMLEF2nYdHaqtrPVDS/GjN4qHXnbZd+F7MXfcCxzM+6smYkAsV1Qw5IzMihWKDeHVi3pjB+8hMbtC1Pxy+VZH3UOkeOZYJPTswQNUQKY4Rq9bCi1r6BtVR9730OmK9Bci8z4YZWGai4IbGYN3Aa63GygdALu0lZVq9GGXj6EKNfW+XUmuLX76mB82QWnNOd2cNl4ZWXHPr6ujDtBEA1KgENg3/MRZdFOcx3C6yrSoZZss9urvd/Tcov+OQ+pZIdQYXvmZpe1a2ve0qDTmrUKG6017xKdi+GAQJ2QV5/p29aXp/eEChwLCDo4ycMOVaw1z3DQhFzGWX7TepCZ0TBa1Tu2zZkU/05IsH334dJ23xnwBFhlwKWZKDcPRspfabgkLA7jkcXo/kVIFHz+lo2OyjhKXRxG6fFysxtuj8KS1irA/jiCLYRS7bUpW+SSyYO1MZgKZ9Q4oa4VPNsQph5TLlFi8ikOJuOkfrrqU5+3X+zAzTYMI0XDkGbtJkR8O0EDCEGnSjbvI4RUlUewjLhejFkDFOfpOeQfy3sv35T8A4DOjnEqPJMH2qqzwYIc5D9tR5DBgzHtXlOQ2qj+Xi5GoDhd2UI6ukLicyM9XDU0abUUHoo42HkLI/BxVd7CxBP59LSkOqJVKN76hk3LsQ1x05SjB7k7m3jc1k9BKwApiaFnZsbLvEMh5ru9sW7gZ73knpIBWdVwUCxfopdqnY4FEz1pJHyFaOL87bXgB58caX7h939idq6xySSCWlQcbMRUAmBIaznndkne520kcU/ocNuaCVQnhIgkJwijAZun8CTQsRaNP8ffTyTb4oYVugOCWkFKI7uWgcoX08uXu6jwN0ku32O1uBJsLdSrFulSLD3OI0qjC4NelpmTvDfHM3xGHsFnOJL/tVtvdUSGH/I6BwQbCJB39fDnCIxyx37mY2fkgfwtdNnhaUX3h53ZOyr8N5hoQtrpISHqKbrKwInPvAGTn5up+XVUWc7gG9T1XfpdA5Mdl6uo02pcEyHra7iDmnZE+6W05x2xFfnh/5QNed68iRPINRkJ3WLuST4vDACck8qOHp//j5cF7u043rLSjSQwQprjkRIF9gt+wcYsxRpUicgztgpryoEQY1cxlH3dGDhvZ9tDszC3VvMh4deeUKJx93USRKma4l9Ky6AGXWtchbr1X91+7HEy/eL05HJgK02iC/78SVxL4frzdvwISP3aIsaBke5NwUbhlbnfUB+MazjwWrUJP7cg31oJcw7O+FJT1XYPx+67SSb0Ow/C3rwA8oUE2NP0LVY6gay0yubGHIh4psdHhOUCdpiy8BFSo7aCxkIUUKtaQv5VVbM/FQeOib0DdXWrJNT9DkLFKvoRZwgpfVY2EfZgdElVM3Lrv+6y9lSN7i4xgX+1yeJEkVa2HB5iQTFlzErYfKbP1a7ADrxM+R0gpQhvsJ7RM9KQigJqSlW6YFPp0A1ARLVmwV3gv3+66NsL1aNWScfiRd/3qtLB6CvDuZFKaNH2wivcEEMzINy6bQ4FmgeA7ppI36vZvvK+Kb3aRJgTpvz2PPJQSmb6RCu96dZStqdvQ6kYFSG7erzQ06p6bfR++WzQg6iKqtkSva/HX8VUyWSaIV8ongNvyV9lD+KcsCQzytEh3cm5DRkwNTf1B92S90OarTNrVgb40dgIYIGJPcAlDIcOk+sIR66s0MByDWWFwaVvUW+2863YZFVN5neU1cu7a0aDW7wFMynzG08jbmfElVxmna3xfJtPzJhcBxlzN/I9YUXZHakC0LHKS2Iu/aJqr/mFE9bXLgHOgchtbr0B/n+7RXwsEOVse4wLt2/06A96Z5/3FbIzfAJddyJ2CSFH1WXh7QKBsHLgZH1bRkSPUQEC4dwt5YBEjXiOsTP69W2z4Iq3adPSmmNeQbdRhIolE4kQTmCHxzd7TCQa/AoL6EBlZ9JHiUIvWZimnbaKacj2ZdlYWVkhv4JBZLVFm4tiSbsXl4taGQqO4GfEZ8QiWWZfSHdrs62r25QLnh81al/IMbYjsUIhNoVdAU5XUcdU7MZk8+2Z2r85FZfXW8Wm8mmiQLzjeeYFf3OsJB0I/94u+/YiDJlIQhWI2yoHxY4KhD6M1T2YI/RvukekdzNbqqB5SkqdLVh/AZEOIbtLfua/O/6rRvuU5YTksP9ZUGdIQmpWdbv6t5sQX6b2Ad3BJVXWiu5cTO/EuvKzNuq9JITF4J4Fc0Iqpd1HOjCwjjy74zBixx/8bUrGwVeZnDe2WJexq/mOL4jZADMC7wWdTQd0OWofjwOuwdIiPdVlSesXEfJU0CoQfUZVt3PIKBSWsmDlXNQ8FKFooRd2Tp120rnNpaCPGBvVthGMDEGjgUoPRxxocxlH55DTik8qEToR/+bWOgPbewyaMx1DdVstucQl9Pk1jTsCP1b01XgVWRwnhDztHDZ21uq0vt1ZLixtjB3YlN1NBLJpwjUTgY7P5jczd/Ub6I8ZtDzhoHS+XyJD0XcFDG8W5AebAbkdOkrGyJ10gl9xGxz+Qh38jDaEOq22+4uD+b++Ojg+F9CNUNjffHSlzHVxhDRHLdnLEndiBF/rKKNRhKw5KYzFWYBhKuQsLQzBkVWmQhT7Z1nb3TxPxVxGCWz1uv6UN9jc7zBXBtUzgjGU3iIaJOb7grVqyyMedCR0928TZkvjpH2fptedjgd3zj1knnYsNiAF3dNXzdVqb5S5D2aIgOjEXHMEH3k7JZ1Emyrqw6turxn3ZgSJXHDTQGObS7WBR6IO6gBp55Zm8yF5jXIkecx7499OBpu0Pos+6+77oATxBdjg9PHT/XCyhJiu0nxvJsNupjOp7xa9IocvdpPy0U2ZFLjTXyhEQDhusXLap2nVckVxR0whrvJntZ74KiAEHUCBJeYPdxnSAJPrA8YhjKDMEgkYJ2sNIliXVi03c6t98Qc8d/T7BNqfb4mDzapPyahNib+OcwFbZ5mZ7OCGcCpxXPf+GRjAUexWm+ZcC6wsn/wIGh0vH9RiRoQd/1gjAODQdSTWgcIGdwAlTzsYJENkLr1lTIqaPAqqKOKO8iZlJP0tFJpWJZYTrvrCdnFv8MvVYuQiGrAsFqgfloNKZPoX+1/rV6lMDUt6Kz32HmMapK2gNe10ftvf6P7FsZojyMlA3PV+WggNb4E5J3e61Q5O5RJsTdROM6IeDMk0Ec+pNuGGVlEvHrI7CW1p4XUK1nYsVcQMtg6KMmojr4Q7QKIcvJNkl4rhPXVZTx6CImy1nUpTteFfn7PCjTovua+DCRgo4MQgDXhhRstZeCd0Vk2vADql4RVIi3JIOalpj7wD3Q7DtAxPhpjBlmer3yoo/5c9j+iCC8f6pCbCSAzOqBpYJLZfTZm381jWGr4PnLSlgOqIR5f7gF1g4yrlPxSbVl/0NSOo+Ed+2ai2/3iXqUq/LHNOynF/6gKT9E468fYShK5klDvwva6cu6YOi/njUXsAFrBPnyIYSrB+W545aDpRE374ehmu2sup8zJhDHZ4CFSTyxXNrPE5oDcaDas0n5DGQjmBvZdrEmLYYCbU52tywXERubKSH+0Hldcl6QfApVL3lY1fk+W4KYL1Ojezm2591DwpjUC0yrJRJvJCPYMhzH9B4CWH3BIA1uSSuKgkMuCtXLGifrvMiqOI+sWITpa5Ov3x9HbRVXyFOU6T1xwzNPxxRQcxBvzJ1qg39UI+No9GzmId8vUzWVA6W2LZetMycBpzu287h/c1tBxN/uPYATML2DV4IyNfiApDdwqvVgladG6Q+PKE0rf9LX0hLj3bZk3W0/2ByCcSR1WqT7nVHvGbbCrZH25YZa9H8tU7y4J0kPgKgpefqccpN12HsDMHOTi55kFA9N5Q2H4yKrwNNJ/XiD6u0DdOJNcv+kslvQH5GrmdaA6iUjjNFiC2cOk04Yw4DrovVVAgX+P7++RYFSK45hklVkweSjVsFHbuPNy0Vn9HnL/Zs7PjdASoA88xbVc+qHnIvlUTHM0xmlahcx5zfxW7JrF+6Pbc21qZ7JD1DZlRh4rI36HtbcI8JqNEgEgZMO3AYlipZV2sCqQdKJa5AR+UX6pKU07VNGcHA53FTcycdEolqcHn8gzCJZ8tsVCoTJuTwyjbmteDNehC3h5buryhwV8s7BnWhExfItOvI7KeMnAMBQJuUt8ynivQUvteSFyuenQMn7UypljU0pC08jk4UgYJt5ddOV5Y3DlR1spHXvK2gQStlMCjtOHCJ5qP3n9ZvTyvvav00RJUSQebdEnjzZ15EwLySoFUF/hqM1+cBfSQFJnrnf47Yhbwt0wY8Ja9Iu+9cGy4b3R9iky6neWUlrdfpl8kf4xEkc8nJ6A9T1QM9Z6607brxLM31kEhtWik2IEM4h8qC36akBs8EUvCZG1JRgFR8ybW0eIvwxyhX7d3AKGUAQz1dnsAYjgl7jHOZyiiyGSSaYWvezYgcIPGn7YV0BK2XyVsIfvzlVZKjes2YCMXDqu7KChqiScNa+ZwJmXQ4LjGKqIreKt60Qk2hYqqHkyZpprKz1ieWsdGoPkfY0MrPXIWBUfUJQuZtqBUFouhJnYdBLK78cPNMOlBrpyY71pWnoohNy66NWroNOmj9wxKljnAOrTF1Nyb+E34DMOUj3QeuwE2iMhuWZqyTUW6iY481nRyWItT/VstO5uJQXJmmoYHhrTttY30UfynEwn4mZMmy8XipZspD0W7ojpDL6wd2TY6iQIy/Py3z5JPC2hZDKg0tRw8Wu1+JDT8F5rQfX2muD/U6rj8IL1569dwZzo2CMmss4GDVGudHO8HDg82cEH4U+IyG5lRMr4t1ge5xf9xstz96cP+Lv5ZFEEdO0O7gzijG94XPRDbrhRy1VROfLMHIr+TVLFRg4kSWZl4qgeA6rqb7uE0Ubs1y3i5MSOgxEhTCV45C3OsphQiRJGkcIpwPmoa9z8HB+fFqilNiQCCKTfuM79ruCGEpUVzFbbUCWfPc7xoYe4OYs5K6PqBCtw6yWCSH20i7fVQAZYZFKq7xP7oDqF3YGZOE/jjAhtepddRCVlQIlUvh43DaI3eg1x/GtB/GzfRYXBX8qPzz+ZyVlzgFE5r2PHY+mL2qH1XhH/3h7/G8FD+mj9SMJIjg75h9bhNzXZlcIaFD/SGwZelYfD+6QHeneXaTaNQxj4iROV+nJs3med9HldnC1weP3vFW8ICWdUsMewAMbWYtmluDqIFkNSTPkGS8aQulW5Zv4JG9vyfgFrzjGPYv4LEXUr/OBHJU+h0ARmFRN6Nn1PqxdXmygsL4t9UyQ/QRsn+Gh8X8dqjLO7XW/OAfqzToUTZ7p6YbrB6wiuWHl4MeukIHCa7w1C9MfDcOzgn4GunawJVrC2gohQ1yWnps/qwZzAg1qdGMdNnaemTGaUhoO2NPThKSTJRvbv6uEhrlY0shFjIiNrfX46qkeIFHjuJ0cW5VmXXH10TuyaprJssybj2i35gzL+iNm3ALVo8P8GwJyB2VJvPdnPHPS5AKNitA52X1zo6qiwr+azxKHOXilc3iOpQevLg8r4k3HnbSqxjIZ4wnVH6ZXCaBs+KhPT0iTMiQ+f1V4q0YOqvWTlvcVso1Th5kr0Ny7klYDcV1OwHJQ7jq3TYqFy1PCemcIhZGk3JyhnMuNE2AtbPiqDWKJm0pwgaWMaVzA099PM3NTLy4RHteW7JWARe7E2kxlwRBaLSI4d8az3B45sahlQGiYZn557FQ4a1yzyqSxisz1nBf/mo3e6TU6iRsFdL54rnr3lipKP8s4mDfdXzo7wzkBZkf/AGG0G44ioo687wqaAr1wvHw+/DfA9NsePLOUXFTlhwwHOnOcgdh6ArUqJN2c+doqYihNMWkkY2dIbxVYfkVUyNFtb6CoelQ57efcp+MvwaZ4f99avJbcyHLUmIwOX8U4Q+Q+o1vryKvjEAAZ36rKQFJ7yDZYbgj8bNoSp5ENo8IAcOOkYsayRhbKEdmCiv2rX5Y+2KkAMwHjXmYncCdyBWe1kVU8kYu+dtQ2n4jJHQ6MXKto56ETFZGCv5Ah25ZHS6yJA7YbQfWxjBVJVr3X/GorJ60Pocuya+TCcQk2yBkNyGwHsBGDhoqQ8T3ZmhbKp8M00AjLOccVJh7tZLSEn9FXHI+oqFJpHNdy3jikUe7rs12V1F3SMsBOZqMbhGRNto1ULn8TT/UE6BRdVSzlPDmxz0ibDES+Mvy2R8nif+rfRACvxUNqpUWIuxT4TXrPbmwKOe1cT06IzCD4SH95d9Rr08lvdwbmiW+lYjWsCjg6ysXtowVjwzGE6IoOhO3dWkLAcLT9C3HHwjWpkKPfvYGakXg5/sl3aHGSVSMlJM6Xou+EiFMPjk5oQ31mtQJXtp0qKrlopR0hYa3ltSU9O5Mp61oXGUKGf4jppYJhiHR+7FJQ7TXfoA4NmLCbS17VbitX6NqJUwYJQTmjjFTROKYJJLUpmcg/ljqB6diq3WA5Ds9tY/ToO49b0PqQqrXGK39G1eWQXkgtdA+JSozfy7UugIdh5h2xS0T22nSjy7KOqESIst1FkNOQH46vsxJZgj4WrWhcyqRVdkkkQUre76vSVnjT/oQk4pgkGd4llfARKl4F5mMMdSqn+5JpJx3dtrvd7wd9+kCsGR/APt7Rxv7/RqjB5mh/te+23thQPkTWu/tF3X8CFGmtuSJ/7vqG1FwJzdHY/27BBbYpSTehYXw9v+GypC+9TxW+BR648S+7aOCbTPGZTPlYXNoWDwreev9b2QP0Cl1Gwg1UUs/LLcOJNHfAyG5vx1b0/iK6Efm8HxxJII5O+nI14tssrY7at9xjZ7IkclaEu3pX/3r5lUJ9+xOq4Zk3SzCLF0XPq53pSctnTJ5H/RB2lmJtOPf56SxLgKKEnvMT3BZYUWcqEPWbfEbKR8eYX8l2EkfWKipbOb2N5ILljzCSXzt3HfvoSGQRE+roh3SCZHdyuVEL0jJ23IBP3o8y9ASHEP4Ya46QqXZz5Rp0nP8hVvrn5nOzzkTtwp+bvPZmebOIqiFUUkCAQzzf7FY1l5UVXwEXH0xGMaXHCJ59dslU40/qsopkRppd0arx/AARMYczLEntNwOksENfBdiWsZMzY/LGe0XP4QjW4yOoJ1/jdd1A+EE97B6Gfyxl3wLljlP9ZNR/fKRTG4Tlc8VtmUs4pm4dvvFiqOyNife8BhBqNUrW96mlN51SkBg6oio9NjFwgI1VwUqULT3GUTC4gN5DozT3/Zu7OG1nQ/7f9GkwaeEB01RcmvT6hl9RzR4NLHL6W8o3qvbo8be0fxlPtXj6yarCrDtfgWAd0tiLntyAT8wDhfSS9U/s2ZVR1TrZgN2p+V4hpCf06IsMF8xxqLw2pk7dIhrThry0pf9grix8v1LaCkv/76+A3l85QTGlCdVVp/38tAcVh95GQxCX/Nr0YErYltW2brS8JoP5s6N5TTLOs0gKA1x7Fk+vm1la58GSZUMj/sAfHH+qUcB3ocvEdmWzGZNjoeiQQEJnVGSu4g/g4JO/HPK6l2PIkHmi+l+9A+AKRgkOy+6mXAU1gDXb5GlMnoiN9T2oZ4NGCevM29/7c/IC3Ei2gJPmba18rV/KfseW8QKW6Oek+Wps8ZZWT5xijX5FD9RvZN4qKEql/Yc11/MvyVEfpXYZ7Sa9XGAO6l4oZkJzEV3nx4hc9dy8W55u4egzJUOCtfAi7kqp0oH6gWoVZ7CxdNZf8gi48MTj3mZVhF20xY4/lOBjgyP1K9bDIdCa7Ib0ElwrxRz6hhtb7pwbezKt0DdqTPr/wpWbgyaV4gIFu4Sk5ORDUd2NnbKAEGtLLv6FMvDACYqCASmp2JrfLIbXM7yFpe5DannQhlMRtKqO84KdJs0gGNVwfiezRihLx2k0bp3mx/rwCE5S48GPn6oSa/EsBSvngIhk7w8cXqc8n9mxb34U64b0uI3AX8bXzZoLSvFUy68larirE8yKswB7vkuvxmtSbkUREargo7UK6rgu2jVRpEazMnwd5roTr/CKu7Ai1oAyBsHuRWth6ZJ/a7H6FmEkjr0oDUieMirs+1Mb7wioPuTxCX8ou78zBGGwyANaC4LQmEDxuZ+MgXpQlS/Re6v3n1DNulibCsjdBiKF0QHvv4hlKPSkGYy1ZJxrwgq1UMaXF1L34phsAJHeEWFVsJTvg+FQ2pWZpTjcuJp8qfe4yIVAoCHIK3bAY85LdqYEVZB/33+EEp0K9KRMe7h8KBvdn6YtlVzZVSLjubQHpKocbaOsCJL0cuDTGp5RkUQ/297udwXmGSL+BJ8mJEiJqgDXZ1bGf1OZ+7K5w3gySf9rEEMTcK/qo7EQ21WY6NBJhrKmfSQxFFutAUShF0c9rf7gtWLsuuZfUL7E3PxrcjJDV5UwI8Mfw0fuYAW9yL/azPog9HIx5uErHaN8Ia7bZlNd5fGCtzS4h2N53d1EIbIfQSMPiI7tMaRkRD7sISNViwsSe2CV2B7mChyhr8YFogPSGYRqEtKvnfr3ptrIYsuZmkBvdJdj24eDt2RLE9Znt3Liy0zpo5bmNas7q2btYE8oQ1dOMhRfNhDFMsZS5/qiBqXZhcoCvL98+PCVq366zG65eXO+CCTMtAPZrUyKBgiE6cYhtCIaqoOiHPuBR1BilEYvcUFDHUugkWMJ7XrmIWex+B/f2p7H4iPepOQVSL1pt1gAoGIsTx0qEOmeP7F68NsOm7ZDcYDnz4WaO6gHBYw0SdQkH6/Q7+L+VfFxFOo/p4XYiIfdODg6ImM+5HY6tsbnA1z+pFlssYQDCeu60FsQGLY+9YfjYlWu2xdIzIqf+m9965R5fLg5Jym5EGz/ZcPcu+lBDoMzEj53Iva6iaf0sq1GUONRNWa1KZwrRgI8t6tEj1Fr5hEizVlAKcMfYmDj4mO5rQyyNzRvxa7HZeAUDjAQ5bzfVZ9AUJRdlW/F4vd5sPSiznG5JLRVDyE1w37wzo2h4gpzj0TQh4npKleHhqjcmoX8yKxjWd/pRat/GAIGBNJzkZ2jCk3hZ71tkdCMgOd6rEYv4eNUCyuvCwqYWezcI9GS1tJ5pGtpa7e4WJb5ouoP0r59Mu83PAL50DAVT4y475ROKAcrDTRdZmU83v1+7JMZNVpY/4YveNJqeFHc9x39PrHYFctaXirJMTvnkEh77JMjoidWLZYnsSN1kKf6mHOroyLKTSuywIJlslJ5ibQoD9lNUgaQsFd+d1wgF4MFrQV5cMioFFT0LhpZtTNLwomqLXCrgt+1kPukPFktNE0Fd3/zKGrJ8U1zWFLJgx+h/e/Ak0ZPFBgmDwWcKDrM2xBoU6H8eo2AHE+3i1RZInmzYi6tK5tQr6t3EdqdJCz7lP30/qomhh5fx0FlgCSYllDVJwfA1FQPYaRXqdqmOnK6nrmmdaDKHG72+Qurop+2xulgfeqyKEuqCfkM+/tPmNBF6SG7nbMHgFHPimKrh/al+S+Ln2V3kY4xaGCfiQnVhzypUkxEK4etoLJ/hWlhAr5iEgn67LpN5O4o7DXCa2/A0Wqg9G3YW3B1vPdHf0Obri6dy6RM5Ch5JkhgPurPR313y3Lq4gKAasrOeRThmHzTo7XxSDSVyDeoKaJnxX556lUyfLMDInMabPpNaTyLeeTSfEDZoDpcqXQHxX8724/7pKhDhmHa1ZZI+wUjO4tMZyq87gWfBm+iuqWm4QHVdQEC4Hoax8U8lTfShhWZUMKgMXJG1XOLClQG5lYLxED6mG/1Qcdso55EDpzKRy71QS489s1FCaHsFBp7WgFOvOGG+x3TnU81EYsIHdWc8I6VVeiZtZ+q7fGvdjm9Aax0tFscCUi0tBxdxg1vZ/Dkc/cHW62QqBFX9kLCeiJijm9U1xIQ3lCdumNdSWgiV8fhcNhUR/iqgPHxkS4bL/BcmP8DJxYvCcPnvRKHFBPBxAKYhFSTnXWxrNGDuxTVoq7EeBZ55H6VZCSPMT4lRwP531D/57UUusoZPj8Te484r5OLxAjO8y4Ve+jmjsXWrVRUSpA/y3rvVsSsazml8CrwDvFQtxrr3QeNoBKXCSDZob4iwFX2EL5EWqaq3v2BTViSe5eyB8fO3HcOXtE1IleICbDLenqdScGyO/zeJy+cU30TxcMLpipu+z5june8M4rhSD+5D69KUpuaOsT52naCTenGMxXlEfnIUN7ZvZY02rkL1ku0CmqQiA2g4dAGJngocG+zhmALcgEU0CtgJtVVOneIoKdKLBRXiUiS6jr4zwTFPN4FP/8wW6S4c036Yfeq1I5QMzU5LZsTZxTHo07+/HKfCpQDnedRmRniw7PVjRW7xWSRrbUnMyfHnTfhYU0b2A5a+VhmxSNk7k+/KnrVO9mZY7qIFSTi4BaeYuBEtD9RSwy2Ual7m5zVc4YBDMX80RV9oLRrc0+jX2xaBtQoG0AkZSEFfRjbqi1JpnRXQpp0dnR7sSrZKSGb0vzTHiKWvp+TlOA4hzhzWOo68UfXyCfurqFbAYOA6ASTmYtYaOlIliDh2VqOCoIO2dFirk2L4GRURLPqpRXmn8D+xtYjKH31qNO0o2jeaFUshLyKaK33fi+qwv6rtfX1WSttH7l4zhhbTXG02fh2Jv9c2Y5Gk33HSeBzRnQaDwZI0Q/vdwDF/Uh0GQtbEiuJYkqLJsTt5h8MncYWu/aJ1q5l4Wej/fh8qexB+mvk/4uIfSzHlcq1OU+Z2fjClZ+ZF3EkdC0wJ19fPSdNUN/uX24ASlgZskrN5ATGmY6So4tiNtKDkEI2s4AHWikKqA3e7EX5DGRy1vK9vkYdsP8eWww9QLU0kaR/h0Pu3r8a81DhPqF0si/WbP5mDC+3oVAt3B3tNUcKAWspq8e111dNJ6x7BStfBzeLpJEZn3DC86BPEXbILtI3lr0g9KEUYuIhlmdOuG13zGADMnyL9VyNPXi1zWiCniP5kemZknZ7/s0GUhyM23BLooFMB5p2rW3D0VbVfdHTEOr5mpN/umApikmEAjJ+CKvAagZbldlmt4pi01ouDTmyqAWp5n6lSElqD0iMjEH1JS/vf0bz4WxNgKJm4ceu0n4M/ewB1LdaoM21B3dV+irCRZi/dXKdTz/WhAvKdeESQckbm8bTEbiTv8SwJdxB6p+qEiAiqLfMVbQY6heQjHWUsq5wRSKHFmfqwVzrvakFBlHDktgqT1ocz7Dx51V2WUHPo1z3xeR/6261rcurkIbEfj2J8EADmdb4b9gU+sCONJSuVRzDXiGdt+mw90yfB4cmcqTSF1UdrZs9d+c2DLs17kewBy8UmwCMS7iZuMFoI/XFEv/9JBQmfA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1" val="Book1"/>
  <p:tag name="MEKKOEXCEL2" val="zzMG_Chart2"/>
  <p:tag name="MEKKOEXCEL3" val="ca98daa2-0491-44fa-bc23-0c485aff89b2"/>
  <p:tag name="MEKKOEXCEL4" val="637548578299479379"/>
  <p:tag name="MEKKOEXCEL6" val="False"/>
  <p:tag name="MEKKOEXCEL7" val="False"/>
  <p:tag name="MEKKOEXCEL8" val="False"/>
  <p:tag name="MEKKOXML1" val="4HooU0THZk28POP9trq+pbTvvzd/gcV8t56cq85kb3NDTsUhojRA0EsgEHHMH7oYP1SYpn09ysXVivguJdhTvfyVMsBLTGvcX7WPTor/CmXQ30RXwdXtvkH0USJ3+j215egEJEuk7gHZHGx82zPR3W9UzvHEntSXqqBpCsPUv5X4RlNaOOdFTF8P5Q7nrWIjGQIILdVMtJ4ci2EAq9itxPJDWGVVco+2qladpljAzexJqM6rYWnEbvV6FgNjkGCuwcpP17OB9TXkcbv8XnqvusWwvWe7pdi3maoisMt7tv9KeH3ldSX2nbjcT9c6dPEFpY73d96yVKj7fFU3FG8UqaegYujAg6cu6INfzgDpkqVY5maKUYcf0/tIsUwYSnCbHF8A1A2lULHKPWWMj1/h49h+aCygti9opTPRxX8mbTTMa9IRdZjOGv9JRa4g8aqf6AS90lGatNo8xcrEa4l5UMbjNcWx1mA0FySS1dzFyImJnv7rGJ3WLg+aJz9Okkcqdx7uOomGDpTlM8C28ZW/DBFQf6+dOQaWZvnf0yR4jVPxVWMY2oi59KEVdox8MrP9jWirFe5TAME6/ytw0XyxhIkc+fr+OzI1mxjwFgm0G+y2y93nSM2ewS+OzJmjKBeyePbY0Ob/E+iImBzy9jmFdsgrZZVqESfIdrN9atRMn3e/MWneGCFibAQzNkc4VdFGtXprcjc71b2aAcPsH25nf/6Y02kkgwEsBnp49/D+jSrKeHtcaQdfkbAxtIyfjcQyYMwnv8zyu7z9LLx5QZGNDB/n+Bk2CiIzaEylb10/sNro96qhx7Q5oNjY4yRyq41NkuP20LeJAPfW8az7wmX6F/Vpq0+djSKKZrxiuUNVd5W+yFIDUNfU5cHRoxUBZgPjV5iATvnp4mZsy4FbznXSAcTKi7PNgwEtOxBvF09aqfOUOwlsW8RlcAYTr+WiXaX/qZ87+vWmG1yop9mriEcKxkzb3d/NXte1CJlM3C+WELKmqMyJ5JcfjW07zp7KSpnMihbJF/TAb6humVp3A37X4R4S0yi2xq3Vk5Ktt+rrVMGRv4N4h4a9koyMkitEIP76rASh/WH4VO1Tl+g9TXMeQ3z/RnqRkh0nceae0tf42vS7tpxnEunzDQcHMT9cAeI9NMLJ9p3Uhlwdl9tYTv5LBxjojjORcCnPe/vvuXcBIs+YKQHsKsAhkt1A6gqOhOABcvxPtO7vi+hQX7dQvQnMW19R2cC+TmMqX0D1tAEyNfB+EeRxaNMqateQoSW8F3ZW/S3M2PTBFRkQcJ0i2gAGt/nRJpDiv2SnjKTKeaZDYC/ZvK5cjwR1VtlFoNE3MsVRY48vIyBH8ZaCvWZhRFNujUL3mHF3I6hq/ytidItNKiJKinzAqcc25NhbaH4ddeNCCtEw+o+aBN9x0I5MZSEcsvRyB5ruuGgPW26tqzHozT8yma/RWD29Jal8KEm6uLlN7ppMFN0a94isyM87f8jKsEKRZPPJDIWQpZoyHQL0G6n7ijWLsn6dAUWUvNTfj1CPWQ0Icb+hPRO9ypDoEcP231LhXSms8PAovR0PwG9ySLjN7ljg7XFOpqPcfXAh5S0lgSuWXvG1HqZHU8vUFt+IuWrorIIlt73fWTG5PMP2es26MBL+t4pe6vhDEY97KTat1LU9l+JqBfrJUeJ1RbhkTWWnNmBxD0Tv5qMLJIe85BPSUJzqrlEDFaUsjTub+hBI3pprzopWbaPfIPdCy1jL3DfnXiRscHRrprSAJTaecfUcuHqtMMHzxcU62Tz3IpdJ6oDUWctHz8FVza4126MzFb44KSr0rUKjuMjlxkZ/TZrSNerX/Cs92YeuCFaroos/vbc1mbsvoh4ZMtaqjcHSj/0H6eGuumckTyaW0gGCPG2pfcT7WlQIbqo0c7MLTO21u97sLPvMbcP+McLrAUXFwljipzw/k6CJ4liHqIzZk/auWKQmiRNtTF6kNtUTLm0UttgQ4lZ/Tu4XHsfIC0ImEAfqRVD6iCE572+f1ay0A7hXNLx57Aqwc7FyqhnTHSeWP6QIiimcSR9YCkcW20oL7afZ2fI3OkJNLFQRoxS2FzVpDH2i/h7YlSmsYfQiJRS+DYab79U/OIYoaI54L6VT3IzBiCRj8FRLYGnD5chFz3C7cywL+jzvQFS43UcqzcbMJucog5YGtoY6jw3Ee6mCysc2xBQx6Ah1V4u04VKGKaEPiD64Kikr7NmDqlIFDuulLq2QIx3MP8zzF/ZtjiNuCLByUjHbpAaYZQ0aI17d09oifvrYX7upRdwUAJOnAY/NUlrkmo6HJ7Ler061H0cY7K43ZWE0TUt67a+eKBsEQibFhT/5WV///wEnQx4WSxO3tKBi7504rAUrH0VI9jePfXIb0J5QE7KLPhJximOHpTpOPItBhoOLiw9/G7C5Dfxubg7bXKZASzcp5ERLh+RiL2RCj6z2wllqUyYubvd/+oSPyNufINU6TVC3wShuois5HFhOe2qfvVvWes0IQc9UbpJ/HwAZuGC2i2gkvyFmqoMngT6vMdJztD4ysvQx/1cLhEvibIdjFfjiYc7OXKLSeV0NFeZhAruStsGq/jySmYDWtkstJc/LySZcTya2o8PpRNWga1WCJSu3kRs7JB8kZphp7Xy4Pd7Tths1Y9W4/y4EfRgAt8C6nXtTFW2oQwCFpjg/GRy/UPsNVVb4YHd2iwbSNaRDrxi1grAwBEHHjNDGVIhbYHCsEWZ6BJB4XLUB0Syjh+yTM6u60MSSjwRT2xOnexYgllAYOW8rFQVFPA721Qtk4QQJjJE1lyZOF10ppj+0tP0PWSkqg6818kG5vnMOpcnmedWL1c/jGvdidyFQOCQ2qpCGop2y6L7YKPfvxqa57kK9PWQzJxS4HWkY8mv/9cB4eh7fiTojERNVADP1PySuJQ9SEAJACFAbXKLX11ljvBs1TS7KdOj1w7zj9arm/ajMxZi3bNlYtl2Z1tYeBE04d89HgRxr7DcU4L69DH6E/hoSx4T/QNaTzgwl89UGF79amgiZc/fhQ07qfVhOPc+mBs+hvfIc5ffBL7Q1mKrrW6hYW6hKwHezkSAhV5gX1t71TQD+oiIng5RLA7vo6M+K3ND4/DKLfW0CknaYW7i8SXMpYvxzhWo1sTZ4wNSur7REyD7Lh9MXgK1asOkpk34zZOSlotV+un6F0jIBL4tocHiJSiRkQUKFEQ+SRV/gF3PI3c6FjM8zLf0zdM9lbul/WLILkwFCHDagwjh1tyiQ2IqLBk1pVsvji/bys/zFraoN7a87I2++dfzwOjQ5B5eExCU9OhjRNtSEhuJ3A/FGmeCiReThMQe6qBERFyExua6ifePWiXykWojesg2SPB8ee15GRjiqtQiESUd1DL6FJK6/OatQ+nHiwqfEVpK9Tmgn0jb19lMfWqBcdhXP7cMKOo/7GpDDzgsw0Wkur7MiZEtS3H08NvPjim0OdEXyQXOrqW+MW5U1nakn707MOZp4vSpnFNv1wOWrX5ZWLvIjxs1JOwY5RPPqb9bRhVkq+lOw6Kz94u2mF4VblRv7Gmf507jC3gMAk8QA6X8QEzY0cUeGW61dMM/BbKgGTkImj4WpbPNDyFk0rhfhSE1HLtvdu2ilM4LdaqScnfvJHs3ryWhgRDnv1mOsj97hotnjmwhqLWZBGg6X0EMwqpdFxzirLrLK2n3r35ytqA+rvS8twWNvkJvlUPxeYL0qZgmOxDL+uKxWhrD3N0+jEwiXpbafsz0nZoa83eOzJSZmqPURNSuOEC89RPXMKMAANpSt9RpD/WzdnwSazHt4EgtQQPB7FDeIdLqoX9oH8L8ikB3+8afNooa2iI0oLGA1DSd5FF1ZU+o3QcawAwHb3FFxeENxa6rW8xtfTzcyZkMeZEmynbPXz39sKXLnrB3tHOHQRaMIuWMzW7XTutKxGBMPqRTF8iOAHZw+8/kg0DvEHTTBDo5Vq6U6j9baTYr7DyC1aZrslseo/Tq//QfVsDpo8vrShYokQGvSIIH3XdUmbY/AXhiu+8RJdh8Ut6XiVaTQ6nOZ1+AT2pJw0Xty9LtUFELN1cw0FxEKSWlUQqJoz7f9aS2bxP97EA/TchKUMA2SGIhafI7s3okttjVsavpM7KPEvFvdZkWqdwT0YUAhuUAjYbz9WvEld+wmZvKd3FQmrIJVa1QxbpfQQRq4fro42Ct1xH0Ggfih37A5804PK7sRX+RhkwK5kw2XPL9vGVJIarbXuepbPzdA1LEPt9UN1nTYmE4CRxGZry7mOAnPXkmwYM45ylpaT4mKQe2qv7F9ryg0CB2K8+nlbJAhBR/G4164qZaQYgO6v6FlbW3EemaMXLOMVhrfRXQmB+os67Cq4LSDOAY+7lrOXoALQEvANOR9gTi6M29i6M0lMTsKMGe0Jl/D0U3hG/k8rOoGgNDm2jHBvyHq1Dv3U27x2o9jvf6PbfZzhwfZ8PkJhnrXPMkhaHIIgbKnG+bA9gmOnXprOOTJCprBf5aDSbUTj10wa7bOrImP82bIvITTq7Up3EaZBdrhjskJMyK7nkdIxvfPMcpzSM8LivXsoXX4B/KxgTUKmie4AnhAAVFTdPM/LlpkmfN8JHAqPFgOrK9czwSMsDkg/HaX2e6I4yPvgU4hen4jXIvNAN+HHHupeJSuefD9tTGCbBqAdiIwJ4PNe+vXBnVyH9SKEtYpM6EdBgFyf3P7X3MJq7QJz1wziUzvpewKrGUkq4IGPZ1L4hsnbchMKz/olwFdXCjjd9E+yjsqVSQWDlHub7pCirxqOzy3yesRHtX//bWUuE1UpPrP+JmfVWooQF/hT4SHZ+7FduZfJzXV40guGEIGymsn75C5S/oRPbZ4EulnaekvGtquI1o1dAWXvN06td77tUqGSIBLsIVcNoPkVul1bRwHWbH0+qDyR4TI0QVLaEZtb+MAxtCND7B+xpZyu02Cu32Ebc2OqZsvAnsFu+SxBjwXuaHvfvVkxtCcGqj9SOOHfDAsNzUNTAJ845TRA4t5uayb2xrhUCLwT+PXSYEZjcJ/irYLKAqJ/4q0MwLJSi9hDm2bff9oGxRI23q+8McHT8szo/d4LObpznN+a2DsOjwlIz4WNAL71mpUWin3LCQSabid1tiZ9JOK4VxmGzP3/Ib368cvwRz0S5XmZVIy7PK3n8qTjJDbaBHNoZXvafjWpXwN7Wo8GcDYCL8h7upYIgwOFKneoW6BY6N/qkTeu61I3mJ6EUohGaSIAqWIor834Py2a9nD/xHfazFY9K0fXiQOFXU0u0IepHFCemiJC/atgR8Y1KDc3cAs1fQ9zf8eNW01PNjr/DrK++p7wAaxjHN+B2OxLRn+qFHrYFPNMpbm8XMDZLYMU6afuMlR7DWTG6tGckXusPf3ET/AKqCHp+mHUNpkDAFCBBH/KWbo9VGhVNAzgr6QQRIH8DqsRYqA6pTRk32AN6Ra83EzbwMmLqCudGe4DOkIEZOa1rhYMhh1P3lcPn7E5h1bglhzxMWJW5G/FjWOe/ophoM2BQcTOGRAmpFd/YczbUSXoOlL+5TRLXpCznkes+PgRHWZVVV3LXbthR2MovfcTyJ1LFBmMdWqzFb76fbMqX1wmPIvn9fD0wMYPJp1J2wLSk7qADI6kMzehV/E3rFo5PjWbpS4LSOhCO4F/tPdOEBHpY8jkSaMzeskiATb+3GXbZ8yfRdcu1WxeFWbj7IouLuDNLDMzXVICBRPom6zZnxsXCxnTEm/xR1WPhaffNwAI2lUL1zRZt3LKHpBzIUrk51LlABGbWL/bxEe3BuImYvklaaQoC7etQZQDJprpJoHPSrHhGREd5+Ih8dtZMrIxUu791ZmPPfJMEKG2hSYNoM6jENgXzgeBzPwsUnkTBo/U9MQuJzwSdiZdzrEnXLqlORcSQVsEWImkUyh8WLDGahZqCaCU6PLBccW1enC8MNtVGNntS/KCLmpqd2corOfbAiOe9cO1bBUEaCEKMqa7cKdyOHj7NYilqbW8/bRw5r2jSozZI+bcbycOY7J70a4UOg5pwMs+6ggVnGDBIx8vmBnllXtvLbMLR1BSXbAFU8rNP44+wh9kalskT2NR6KXA19B/ATBJumyRjc6rU/61irq3fkb1dNHx/m1Q0oxB8ypbI3yd8s/aY2yXqh5m+co8SzWLEJr/AcdFjUAFidLFlTTGJ+aKtm4zjOqOdGTRRfqUbiZeB4kKyI9uIlz7/fEgP0EyKtCPg6AMt6TSnPiXF79EFMiKalQHVvgeR6nNs25l0jsJ6NaBWk7R5O/KUXvRhwsBVc5ePHZF+7/eAWA/VgLe9ogWo7xL2C12fmXjE9arU1FWsNoHBI8uZq9ZGMBJ3ee9b53oOAwySuZwpeMX2h9GALgjMaPgapJdtDJD7meqh4X+1R/NJxPdHr9ZRPbnTXpLhEZYAQxmZ35Xg2uMGi5ZthF+7fgMgMadq9jVlLrZnRe4Vqqpir+nZrXE9ryFlLvM/BjTyfFMj9LL0IK1s9pHuCucxutB7wV1HoArGqgDQv/RgVjAwxuZ43TnRiXnrSx/Xh9crm2V/YhhrsBgPUpXWVlMQeE7zTTxSjjOR/E6R00u786V21V9/wWFnY7yJKSwPZfPwekTmfLootSt1DxU2pcF7dc2QxSIpVteu7BBVKuICORpkJKCztyrVSaQ7fUsfohFli2BLvMowRzoGu/fuI6f8VFxuIk18hs9tTljje/n3z3svQH+obW155lt6FMDxy+nCtuN+8ChyMZbMjfVve0iHBPWGkCmDgRMkKvre9a8VgJM4sFnz2SrjFxcfxM9pEJcrcVWZZYxH38ZBd5eq3eILOjdCodXF1ae25YSxKVa66CEA6cN64kqf413RP0A66mgU+8S1ALEE9U9j0ZEigBMSnKJWk0O20f7n2skUAkLC5S3J2sL4gfI6yaL5/6StJuaX98ogbXauwTZJs//ts7rRerTsMbKz2fzt1ZcJ1aq9RVG/WGXyMvBy7Y3L2Dh+VC8jewWO82Qx6CGBL+Uua2ICta8E2sPTwbIO3TWRPXn//Oz/bCIRyiVY5OtuSeUMs1l4sF7O3re1BfBr9N1xpAgN1mrjGDBBOlI2OedZHM7DzRPP1gSySy81Nhc3Jrl/PdcbQD8JznkQQaepBkZDB3eRGNH/CdhnUuTC0cUAbI8zkdVVIbgUTAtANuI18LXVCfs8GmTVMC+gd18a1aN8AUCAtoBlw2ORTStq0euUqGC3myN2ns4APIlydH5wF0t8/T0s6G1CsmK+TmQrdgLw5S4zkJVnIhe8VzDclIRzfkU8cFq9O2oBWJK0qhzuQBHNqIHg6gH9+su6guqIan04eqQbttg91nNHQZxCPZIVWS542WK74SmZu59m9V23w4Chy2XcCcDJX72asEXweFT63AVosIFGegmQQMQhgiHZoPpMV1nmTHbTH0jYW6ChjL4QQgtx8GKeEHYba29SguLO18yiX2/8iwNHD2hpLx1i/Xu4rXwxP23IYyZ7xLrxSVWqLm4zJT+eSHVLK0ZGq9CJDrzFwURf6KsOY8yb/tpqnPcKy223IB/b1RBSXehzPQ+O02+pd4N7o6eAnbYaC9X8nYa4m/nkpi5PONSjGR+YnSoUBFYkRg6Eud5LeGoe0h2ZwpS8a+s1Ox3SFN3BvI0jiBXMb3A3GkNRtwOGdURquosC6nmT6zhNCfTmn8cg7oSrZgYg2vj/XgipFEzvmpRkFv1Qh6vLuUDct8LCM95VA1NPUWZjsCPhoXDNzjF1Bj7MFHzFuhTvBEuGsmXk0UxnuDWK0a2uQ5cGn4+Ij/NG8z+SM911vYNpcTJXxyOPIVCJ/t3pgoRWXOQq3rLxAmgr27vintZTVs2BBZ37a+xJJ4FffUCIX0JntrnRUsay2XbCaObgrXspqdsH1fGb3zEuWKHMzOPoT1zrsdg0sKZ4/xAVyIYXyBm2TIICRAwjU8iXleDWhEKEP4oJ3gWyNigmRlmJPpRcdvMfJiWDYxiYJvtJmI28jtGvnv88Z4wVUaTn5FgTNDG7pS7NaN0DeeDKNJS0l/nKLsyw/roE+Ag82wb37NCyT9DVVoaXGi6j7tFlT487ekvAbwutWfTh7rfXEOMis+vDbxd3xciPlxfYnY756mUjCfl/H6fzYIwgF1Dy+G41aJ3PMkcFVfsVm0tsqsB1ZpdDLdYEOoX8sPJHpQWfvdXQxNVzjmWUtwnDwDpTDzqZNRWqZJW7NqqGgCz5xVlkUtvziyPjqjWeVUgd3IsR+wIbD/gZ0bn5L3UfuD0uoCc4cgUeuvmGQwkHg3TB7N48D8K52pC6nKqCzzzwRYh2ywXADmmQrfC9BEtSlo+1G237cpp5YxOzSM2k6P3bta9CMlGNntByVV8zMCIo5KFdh+Dq4qExq/CV8jXdR1eJbSyCd9bI1DiroNZVsXkKFA5jxirAX6WUMt13Fi4d3E8idhWIOJ2CJUaPlm646ZpEzGBBmIAxKG8zqoTNG5GC3bb5riJ9MBXzsGh/OWu0HqZentcKYph9lgHyTsPAQ1ay1U/qRQDwXocwFdTVNMXZhpxwt6j//hHkFzCRVSx3KTxlhcAj62pRXIDJdBi3bFfzYVz55QbU4zCY3TljyFxXU3kzFbIB6A7ZR1Y6TeoyDRti9WqQ2uS5vHgM5d4KE6hvFUg7hPu5NjKQGFjUUhBq1vCcxMmhQxTHUesqLhqKhAtRlYfLxOg8Xp0ijYmutnYjLa0RgpbT7yevhvbfSlZWGd2ql7LxEa16fsQaoASGaDj7YtYSFwh4SlPJpMzpt3uD16DkBpGU7Lg0Iex044mXJ4lU/OZtZkeozCX67k27y8v+NjsLfLTzua8/usPfM88xkVtfXIIcAS6Kxlr7OXxUqqjvGvhqg/9r9I+S9X1lbZWLs5yIr1T31tFPMD/0+5Jti5daI5IOlcaPhJaTovC1PIvK7EqKc8LEwKuTETSwtc/TDKEkuPiNAAaeaNLGCRE3CNaR3FXoE2kyT2ULEVO2H6fJMoSfQNpX/8nKrlezzf44b+pwFsycGXYxOeFQAcI1rU6kOzdq86y4P6lGNF+QO65XydqBcrJ7G+z4gMKt4Wln/X/Xa/GuxigGtCrAOQw0rvtyUrRVvlkbsKfg8P/bZsQFDyY5oqrHLu8tN7wXLH8A+iteyIL/l91Gh6/VNlCbTZ3I7jdhT0t7l4LUFMn1pgRNST9wLeUsTeBXfhpzigeDszUR4VLJGUhkBuDooLlIeQRalMa1xA0E1VVCFbbs6b94ZGx1vLPtA5/59bd74j8B+NHhBcuNwh5DsFjf2nFgIa2GmX5IGIZwqCdxaOFSN6RUNroyUX0ccDEx8L5gPm6igRDG0Onp4rSZn5/jTMjvIjJFv1glejU0JvAI8ihVPylRhvp63mf+/+3m04ByN9WSd2SxSIX/fsLqNKFQY7ncx8bXNbG3vIp8P5FsmL5860A33yL85GBrP6bwzET7oDmqxSG3aEnWt1C/xCqg2k+wr07Gt0aRgsBhpRYJ6atLncV5AczAzwspJO1OEsXethodylHdBG5POwI0ca1rQHAuKBk2+YnR3GZtoqalyJZb0F1DftdiQoN9TzD6l1Ch6s9sr4TBIutsmxvuc2JSnqhX27w9XgOxwnGpwMiDRXJU0Qmwsb96wfaj7DXVLGsSamJWnSAv/BQboUlN7LbvjM9jRd33gK9VZ+7Gjwuu/Btx0UxaWld/GGKQ1wu944/mREVCYps5FO25SBRFTN6QIoqtymE8dP5rK7JjjokzEWkUH/ILzCVBqvjF2HBXxgkM7q1Lz8C8InvXc6sBQah9aZOCt2Vz8QPrsgNB3dU7RoVr0Tea6miOrhPRKKgxTBsaSUwno/0eAXTGrrCWJQR4MlzYSKSSo6i7G1p2avKGhA/ePAq/2kb6vbkxWfwUrubLFbB4VkmzkBYWQ9YJaYMS13sVPt8lseCFD6PolKL63sOFlKfUUXSQK7QsT/i+t0gE6L+YUQEtp/aPe/CVGSjuvbxgjMlIVhGJEUvOcsar6gzKFmXnQ99+IgHFDR7fVi5NT2Nnc8OvowNzdHQIBQ5hBm18QfU7uja3FVoTkWYpZTgPbNaAg47qa/k/RoDEaCIeLdKZjlryfhglBr+O/uvHzNv9qIOpo610afoQvTg4TpgStkHq3mn/VbljWLtKcdNlfWQyIYstNRUXuaeGVdX1SvpF4X3F5OhrODi7VpG3RjxUBXCAEDh9BQHmhhdmqo0BEzfvME+gtkV9H09bJm0GRXIKRetyl5lFW/3xS04F6SwFEwyq+ZVvM5Oby+HqXWWO6GFoDqi8k1DZBA+5ProQaCHvErzVJk7bDwjOjpZaiZ8/NhZSpce0Pgw9tWzxbi5rTfS+0UiaIxFTbbhafq148YborZCkheKJyqcS7Xgg2XI8xSxsWiEgzOL0G+C0uSjU4Jpd1u/3w4tng9znO0onm5gNZg8GED1ypWhFvVvaGzWe9nYucqUoE5FZk2FoBSrVbs4BYQspAp9i9Z0Yt3efKvgytzj3shJFJoHWJ/ioz4nCa/IZhA6zMFMjIkCMnkNzUx82rB5ATuYn1SJ86ROOY9xzA8c3yxvKLnXAjo+8zliXJL1ZLtQD4tDkCi7hYcy4Or7AiTCobHVQLx7Og5Cq51Wq69q6Ly94nAlTOo5utcdW5lWAAiOesiCTRr3GbCVhjjDFWa8yQ1QUubD2D4B127B0BKi8yj+iWqsTHHSjCFNj04IkhtldTB1NDP3K+OVQoXoxyT0V0BAerj1y7+tiq9FKMa2nVeks8ckFeV+Z6G1Aq2LReclbfFsvSxDUtNpwc9PQT0MOtXr/mq2URkYhIaz4eKsjaKTWns5IxgY67rORGcKhhTUsqf7xDaqsaTrB5jN6w8UugevMxyu92QKGABc2wCBHRGu3RjbQ2LGlOqceTmV7wdWAwwJJ+2j2crZBhZeUne4MzlZaH42ASnaq/feMcaHkVQq12rF2NkcdlKtjb8O34b2tNiHxWomJeyaSv/CzsaEjykN/Ido05J8YMWdxcBHLEQFaooaVs3lmjnVpXaNGDsnUNydmHOivi5HQu8NchVHHIzdgA+YaPGp1VtoBt+g1qZki6ptAhxZw0T0rXloRQCP64ZeafpkhP1IKF7+ZsZPjVpbt2DPdwCfAXMcdFdOW1IA0ZUXnRUt2qHhEUjfiOmFmuyfA5THFD7KJZk/XeNL3XS/ZiUGyjBiTwkVA8KkV5zowxL7dMRgzAYx3u+n9XVhqwoEnoKkr0e3nnGgPhB+eqH/vzPXj1cXSJFbQ+Jo/Q+WMoejcYq373zOvAkOPwqRzi9by8Wm+lbKFFTGy7Iy7WI+PDtfjqQE4W9CMnbY24UlAiGVapBk/8zOkzG4njGL/hEp/3LNCPYxusDR+jjOqSs7yhCC3jiXACAar4ydf/gQnMvIMrHe5a4U0ZSs4AI+lpjjjZfWvrPIvHI95TkcWosT4vB158zVUgDUUK/wcUfoVAovrUmWvNwOqhrg5L68JFAyj8ZissY893qFTfyGyLNRY+GhqwBkhJYe2sdZwsXyS57Hs2JsTV/ZPObHuQoXnEncVKPrCB6vU7QDidnWuBuF6e6iQniJZHg00NWD08aE1gnp7+7XvLDLwfc9rHDfrmwniPIlYDkm1YgxrIJ9DoHN2MbHZhCWLgB+obw2TJnCYKUXRTeiCHfxrPYiaB0p7ot7mH5G6YOimEfe90HaqZQAba6Px6oCZxSdyGLgAOTxP52HnJLIgoh0sPLM1dY6zKRvY7D/R2orYaPZH6FshrpzTfKnOlvN29LSXei7yb+N8sEvCnwtk6xnJuFz7RvQoKT5B+pnfbk/2Iq+DDb+az0Sso6AlQQppdAcIG4y1Z+tV4iKaitSZF1Q9bWB64Rv2tLQ1UuxDRz4C5qO7sXlY6UPc7m84PwezhuC7lzJikjTTlNIyqAHce748RzIboIZjYVWMaHqL9napVOu+2P3jL2pEaZsXiGmguGKpEQ6v0ROecFOYE/qTMLroCJQE2vImplaS0ZciE3jqJR+e3tIu/YwLUBk8MgxQJMxR5/uN6e7eS4Ebx4CGEsN3/RjfYq4GwavOXfN/NVbL9F8GYEkti//QBsnfFDBBe90Dxow9pqxgjFl8VlXjWofFQSCjyh3YL/LzBbkjHETCkcaNNf9KpyknEJ6EriiMyzabrMdSby1qyE2udvnSHAU/FdKaJ9QbOIxrxML/0hJoBh7DT3ewhOCSFa3x9TtlLbAlCYyoFJI+ZnYwbQtvvYBKp0+ABYFhkmrZfhAR50ux7atjgmsK7BSjOdgi7qJroyStAe0WnLBlz6zyZCrLRuGiWFQRjQjlkC5uHo4cd7uHt0isCmcamXGOgyXVL2jvd+vbu/cGHfmGTOwRM3LJYyh/CybPd/Vec2/ariYBhP/jYj02ZNtCj/z0w8SqFZ0FJNAuVSwxmgWFY3op/lEXCke2iXttukFDAHxt8zsXi6LgsA1RaB7TUQpbIu7/hti8v0P8Mj0YDZwSO82dupT4Lhamk3n4YihVIJ5zzLJdPud9gYd7H+Il4GxJmH7mci85BIlSjy6rBuOfTZ4KqNSY7VxyMSsitZoAG8xU0AkSGLawO6EUgGwIOUmLaq4u8P7QnHLKvd82pqZtmehl3tP/A3WUgPTGG7dbN6Db4QS+ZvAmCIU4KIhuftUgFI0oir2iHMbfX1fQG+Phi8tpE1+XdjKaD+4atzscT69/VlXTuQNDM/jupNwxoGFxxgfxuHBu3f4EiJ6RHabAD8wJ3nvfBPY7yU9PVQLFwSksF4vty3HVJu0n+rXmZ8GKoRgSHG3nrlFHa6Q5xW8tYG6P3OAywJ0DLScSf7l/nngVwS/OS3w5Zgyvpqgif+L9Fsh0s05eeTPqChSk3976jh1cE5tX9DxwFhz1keY1RBhVXfy11DVqDJwRGlW/FvP88q+bIuIBo1nnI2cFzIMFbZojm8nU1uJxCsBBaaiwhoZBK5p886yc6WIiGrv49KlMxO8oOeb4B49dOYzAC2eZRYowDt2EqNePf08VZdegGjkMc0HrqS8e568TGcAi/Q2D1tkBlONL2FQL3vrK6KvNJ7a41QJRT0RyrxzZDxRYd17LCLGqJPE1h5iS5mpVzG+ZjNol8SxWbzKZQ8CsZC/7292+vnOlSeZi2KDLhVm+xsq926wo13nb3w0IUEeNnAddyZ4yVv3YHYCsFUuR1Dlb9N6PutliJ5leeV+bHrilK6TFjWU4ic0T2jqTGpFBy+odE8a922DbB8btUj84EMgYtjWWDuDjH7YJGOl3iwEUi8uvoIbTY22Br7dyscMLYlSl6Ca0QzP6+hKw4wGhGue6u2Eek/CKo6UKuLErkRxKM3I2yhoymnJWpRvCcm+gA1vpj38pnXEUP40ejCwZP4az1nFH2/mo1L0ZQMdzOVwOzMVTJgTUPdSdGnAwLS49W4j2X+1SF3a++sJVMyHBdOMhzGKsQ97UefItsmLztVD82eLrDGNNiRD11+3qLM+xG6xVIZLi9X5D4+h790FjH9FHft7UUtty0pVidyx40HdMWmiVfDASTiQH4KmSHEst9esr+5leAf0O4i1DgOp+KPYExMdylePYP3IBec3OBMdF7qoJ51vuE64PCL1Rndo0lVSFjT5S/l4maFNo/X6hh5dSv9ZFy3IMb6UGyBdjEn3hbdGdlE29SDe20F3MiVtu56QPY3e1FlXoxEskGYZi8cZvFwbUf3uDhHbiyIqvgILO3zQT1QIVLfxP43660QLmGgpTpqhjt+LjszSv08Y3TsnMPRhFG9nv1NEUssjdPFsdVL5JtAy22dSEdHMg521yj234mAU8uKfMtHqFP4wh5MzFxqT1i/BSolERTu054gg7hEsU60gmtxYUtII82boCQ/QNPjYQzy7ORWt2DvWx7Mt9VFV9NRQsGWfbWOxhz4wlXyY8CtBf5KW3nuR5juuHu7eFnM52XhJTw/I0Su48jny4EP8H+Mft6wshnB57Jg3MHGkkqkEw80YR2TUhJ8lYSefZ6t09CGFeCsI8fdiU2iFnwkCuKMcF+dxBlgMiTeTQ67aNd2yWzjbxuNZFegLjRu6vJjutV1eOj7xpSYe4+fcYcgLh0G6/aDBcrtT1xcQt4f3Jzr7HdQwsRamDl3ajx2fkgSUoem1LjJsJMaUzA1fF04fjR8jsMBhWJBrnCFwyoU8nkUMtBcwjEJdKUZgFe4B5L6MyjIdZKg1ljIq7STWbE1vBFn7n8Og/1JCPGZJmuifwu+E9PS5wftgtppTDP3Di94jv4m8334mBFbDY7zem566ssR+i+zSWmncuFBV+wYWNR8kx6SwPCVrXcCrdNDHzNZ+B7NWp+zAnDDZDPEB44s3roeH1IbFfg+sBwY6yRiOQv+Yp3v0lWu0V3mmXR3SUPHjDGKeYOGe11dPenNu4lV93RqflUrhTMUHBHGi9HoU4XT2pkD4tkxQotPa8alqA/fSVsuU/HWRyY8FMB/i3RoC1U6RLynqnF1wdjdhKbsZQcgqeHGUbyDkucBWmlnV/OkRUcjjBlt63dXtPAZOjaepzVC4kzAH0Q5fc5mdg5N09u9mfbLIJv7G/wLm/GgQD8vNuelgKQGVJIE/EQMeiWfxUAWQrQRk7jL7TiGGcAqkhkO+YjTAQG8jK8R9NW4dCIeUsreazzFiPKy39vSwDLtzUZZDLTUc2q0Jx8fGru+aCw/GuHCTNkwoMbCw4aQMiwSroAWtpmXnIcF+TakqyDO1bXRzFNfp75KHDDw827a0ee8mz3d9B3f50QfSlYwgxUrupXbHb8iFnr1hkZuqp9kI5CVmu4uYTDjL9lb2wf2ZSdNuG08FN5SKpv0yH0Vsk9+UhYNUrZAhTRio/LO9sa50MYz9NeZ2qdc2iQ3O0UZm0/moWBL0DvvgiQ/tI6e3BT0x+W7eecxo2Wf9dyNTI4cBKPp8iAxAKMopTnuj/rzJwYap3qFLA41j+RDwG6zFW0iqsT2CwLvt6rxhCek+lhvfHw+3wjtQpNWHMnuYaV/nQYwTFGN/h8vWf8gPw1wlH1Wud0WjgaNxanO2EXYL35noOUfI6tTnb9mN918jRXnuaZQCCpJFGAY8l3jm83a+hWlWtsBhlh06UawHNJZKebCEuzm2NjvOMS3NrwowwI0JtGF39upf3lA1gqtNa049bM44/nYEhW128hQC9W3ZqcfBexIg0kPE4riUdMwp6pnoOMSZYZjAU9hOEKa5NB4eHGw1M44uyUWejFAjH9UmVa9MAeBkPQ/XZC4bto/NRPWrvZT7o2wLzISX52/+G975+dpWYRkKzDB33x10JKbVtwcvfgahTfclL39MQ1+xkfF4uUfv28h7soScg1C2ck1YMMZb40kXDqpm0PDBs9nr9gckWqKMCpIDal6gkwURPZ4OKz3AJHe1ycFMK2m9O/G7hvYN6kf7ruD6zAO235mw/QXH7che2rMhti2ewfZZD53/Sz6sTbPxT8G21kTQLR+iEWltWJ9Ccz5KqIGjM/Jq5dYgZAsfMe94XtUGz8qhP/03192Z5CTh23EhaVwiFUb3i+jJDYHb0kF6Dal/P9W6DWXFH1wzrhyuzq4hNpRCYKVz5O0mOLT84lPAMPS7uThQFkbveEoErwUc2lIh9PradHI1mXWUHqFAyihHL3Zesa75/hnwoA6H4wcd+eTpco8SjAVU61BWxVeoHnsuTY1fTU50YePFDD765lylRR7VDqY4rdKTAVDOna+xgvQFpSZTW91m0VBXnlqHUo6dh19j8y/SV5ZCN+chph7ItT/Uzok1F2SR0smQm3Ww7Y2TgPseZ1Gddluo/qVi3nkVjBRlQHidvToThT4XDCEEiuS+ZXiBgCg8ekkCtB1RATe+q6noegNEJDmqmido6oK3UFG2uA69kmAkZqHF1qAUmGfrE+modaCkIyPwvZSwLeYPG+kHoxHAIFn/moZTXqa1TYzvvwGGwwr3XyzD/12d6ORez6UjaVQaN5XbIdVO/mC2MNwf4FdX5GyDOgcVbQXIxCtgWdcYf2pvBSfBvko6ILu904oGMQNjF4kt16O6jhvG2ceLyDjS0Z9B/6sfL397rzBGb98CMDE8Wl0oBxXvdzil4tfrckdZUWdfeSQSx19nkQOvjxjF8iQ8Ms42zKil7hTT+vQeqlxzgn5ct4Ygv6JTu0l7jXlOoYdbK/1FqLSTBiaj0hJ3anstj7GEVNt5OWqjM3Sbpmze06OdQPSNnWKyuWan/cyg8exN10ZZj9HomB+10qzwUhuT6XYhc6tqJOSYA86PWPgLdqFY0xbFMmKu7wWqCp6rrMtnb+xoP3ERyxOT4cObtqN6QOMO75vIn+Wn8nbMV0u2SE8gXVVCTRiCbGuHrbvH4p8uQi/YHARozHLQ/4M52X1vPErx4o2aTu2xeKmN/dNjyj+fO8Bg94uwhF3T63HV5r5J1CrU3INwbPqE7rApAmmQN3fVJ/yBmpc9fCuHYVcCq8d1f+LrLHx6sJq9LlbfAQsvRxqeAC4mhpE5Hnyl+7j3EYoRIxs/oyp/DwkRI4n5o7Sw5MldV6fH6QdiLUb87ZM7/da4gF7HA6Tc3aJydM0TfwEvLYahMZDN4LQV4wJtxcvkvBfKJpFOaMG2KAAU6+4DoMreeavyJcNKG8woL579sPvl3t1l4pxrc2FqmQvEZxVuXPYKwO1jmK+bg9JV015GTvoJgHwcGpZpzjIocEPTDFSvIqflarTqer+laBWaYZxsZ2NGQ0DDlejpdpa7Gu/n+tCY46TtrBWgLaj2NDc83OncEdoto0HeAsIgzpLwNuDY3ClF+nIjIKTfoQb2bngo8yE7oIsaf/KZdFbda0I5RPiwS8z82tw+ZVLZhlfj7TD8Xxe0IkL4gWKxHTlnKedTpsV0HOGP2w0Qj98HmpmGjqNYvjCLUOR9yCTUy9Wyu0E3jly0tNBgLaKDc5iaJX1PbDCB+Ow6PcT754OB/hQfUbucBpHMajcUkfiWsTglPU0ovZ83GjhgJ1OJHHM5HXBcYYb7ZIeiqq3BnSQUCr/pcL9aoVITUvSTkUO00W2tsPWiANZWpDL8L7TudY534TVjMcm8JWn8AHOktvgmg79UcpyKXqHRSYc+7sVUsYjcP+MA6HW9h7uD1zsKM6shdR7OrWjv9XLhi8aRqX6HaKJru60Ab4ii5MuesJ9dleZiC70hkEth6D32OtJ/v7S2kbqiTE4kdktnhElJV0XP91RPidxJDBWys+/nOJ81CgLJmPL8LfmEzkrkVcJbvIVzKaphczsbdt6xjraKWaJn7tRAnBlaIsB5WhBgOoe4JXLjBz49RkoWRCWNlJd5JZpnVMZti4O+76zmC4OAY+OEt6093fqgf/tAZl2fO6TwkJe2ctQb93Q5NQNwtIj6QuC2mHLBgZ2Sa+0Ge4WABGmoi1uhOYdmSOqecsP18GcNWDn7DX7j2i435l89PRSs13nuEZ9ibwxF5I8Bovf7PZC0IpxOGNSHRm+5rIK0aFVMd5+mofGLzMN0GHTSFUxKabhR8sHDrq4Bv/ewssT7A7Xar8iJDQEqH3PiJfERzImClypJOtlSUk03EBGEzRHyZlIC4yV7b4Bv0pacv18Cwj3KJF01lYJDjQnKxw3OrDah2UY5YtUsWlEgzyMbKPATsy9bzCQAdyGy6dvsEwpseNCNXwYR8dHCxyMOutXqcDAAu8KQsVy9cIYmaB/XJFuNHvpPYmwJNNULSpLNLRe2I32H2ArCwENDJi/6io7uJ6wPTB1PqrRItscbd4ZJrg4gLkLel51PaFAx147qSqbQ1zK8ENockQ2f+JDizhzbKnm3MBb9PX4uMLMglwEIZmbPCQva3AUIBFUWwmGFafMheWnXBwIbqzikaqiMAQIWdzcoUpCcefLCRBVHeYE6sVIZVQ3FFh6L4QT4OVUB3LBoHgB/m9VieRTjbvAhzA3mOD0aQPIbyuNeBg/rl3Bhw3ogJV06mnmY5sg9wwuabTbGvO76UTucB59c/awC8UFc3lPVEOpruvmrNv0vUw6/ctWnttm3hkAj+B7ozISWMrSJHsZkCln/XPBJ3619up57t6gz+p5TRals1pr5CcHLvD4Zjb8nbgA04Bzk9UtSAGbNNsQevhcD9Y0vW5bsQPBODdHpChiMRCqtqgvbFjDpS/7R3xhQPBkORAfSw9umeTn7nXv+TUBKsE/b39rvH33e+ApUhpPmmZLHVaY//pKDNp7BAwzYCmnP8z65raiju9fDJUFH7optJIM2RGefD4fAVZFlQ8hzWmYqc3fjvolwBDnOLA8S7pJAu1vcPlbyrwrp4gNfqzH7v+/OqETeJ70KJQBN1NJtDBxXaut+Igv7x2KTDWBeZu+EhnjK/SeLego9hLs63Lh1n3pmlrI6Gz7nP0gjaq3rEeUFpnlK/xeXZAZbKfmzF3ugNaOBcchy6o2D0DRTP49jzOyNrhqVbrR0i6DembV6gNKER3oCqBNATBzKcaIEjR8o5wvSEbPpSiK3zreFJl1w2Py2IGW9YLL2Vj2Iv+dshGuKgoWosZP+vLR4VlwFDhHSD5RX/3GQ8miP7ZbZZnd6fNqckARI1h31TntroaaBktFEFaJJ3iKvd7PB+qEngVvEFlMQzs1TtqUFx9+0XA+nL57KN3hV/U/P2lTwGti2OnDXCqUTymG3rIKD8Y7jzLb0FBpZGoDozxIRcJcYWb1ZgW3efvSaHZWCFhmmfBU1OI2WxgG/t1+LNe0O4XKaWYgAvsRe0oavafJ4q5ui0s9nt9imC2/xY4UO/xDHs9EsbyqTn7Uu1FyNhgNYNVKJmbaUuosehqpwdUuljrvA4IJ/qEF+zjMoW0GprMePIz1+cesPXLFqW5MEFzq9WMHKZqvCMmqjl1pu/+0cwz6ac5h1jSomGZ6qCa4KXW3nGJyPHG1eorKZk3Qy8qz2p3ZVPWBn8jScOh3zUfbK5f4hZ8mZxgTnI1SvUgzR39SHQdiKzsnAmX3SEyhPC2v76k1H65SHVKIjKOWQMREIjXN8o+Eb92WxohvYQCmC6UNFcZYXVZ2Qz1ky3ceB4wpqHgOZ8mY+gIV/EQcyZLW9B5jADEfcyefiftgQapEELlB0P59UFUUJDxn59vYeT434VlLUTq5WJkWnJfSbewzazJM2PweTTex7hJ+aQqrV9LARx3rhfVohwNIRl5uCvEUrZ8PrcyfyQoPKyH2HNJG7B/Lf0kbfk8nI6bYQD+ufish9++Owq5BuDhl9+LzRq5E78QxMMlip2l0g6XFOsI1eeCGrbFeLzO9jdAKHTKtVGyyKnqNw/UWKgCdCeBUhCh49oBKByTPFqNylT1rkLbRgshbvid75FOas5Sd4Tv/KxPfFDZFBrHF1MDS3GovQAZur8Vo01IHFhqHGUXxm40TGAmkDiLxkakVmxFE1Q29wKVyGyBvd7KBUMstPSB7Dpz6jn7oIYL88T/rYXAt/M6WjfOByXvMzqdpkT6ErB2jiwp6lVtlQeooVH4FBzAgZh6YIup2NkU4Sm8A7wUqP43Drnq6tqjQgaeiIhQbzTvpY0nxsDIdLuzKJ3+hUF0P0+bvWLPHcGjRysj7vpC7UStTzYjmuSyag4hMTDnoxTTo4DtP0WBOSV40yx3H6ZObWxFw+jYq/w5btx7gqciMjF72uirm7ncAOPcHo11+UioXZT08SBE5BuwYxTfcgJsyCtTkiHKaIE7aQTg0kldgDPjlJ3c051JZeB2jazXfWuIjAHAI0YFdrQkXNwIcGtRlQV/t/HtWdrQXxIZ37lRGjmCo2hK2IanoDVm5fmF3D7KvwNsJIl0fhSTj+HOuQISgxaSmZIQ6NQCpXr7nlOFLxvXP/xkRjdse+KXNPRc5z81E+K2elyUzLsczLQplY40/mqZ3I6LzqjruqjHMNtq94kqMRvOMehYrfQNcnmDVp9lK2KDJA1MDjZFcQjXLxwQ8eAEbsSh9ixkVzr/j6HnhrLznwbDqg+hWEoyFAuTDQUxZpfAAFRTCu24GlTjRFkEy2+v9iSVuh11alZNlDpHzvdk0ZquLMitxunGhpgqQ8ntfUHBllfM7e/uZlzhLWLbuj0NsElnA1Vxb6N8wT/PjRBZZHDqxrI36bCe5gIdd/g9CTpZZynutcXyjg7w4BlztfVq8Y4AkimEJWx1QaagY9YpRAUpdi47T8OhMrF2nwk2RbyP7n97OYQJUM/XBTKkX8zV9bZ8Y2Kvxbi/ULiT6H6mOkIqVTDev9PNzIQ7GfwiuL0B8u6opeG+ZtWfLESzimIXmwF3XVINmy4PDKZ4Hr8sx7FAwsU0xyq4s2n0+yW5PsjDtNQ6unsdd6lBuAluZijtIfagf976FbQj9tzVqTv2sxnkuoPSOnTB/C7R2GTCSgBOxCCK43fRt71ruZgqEJi5jmJaFn4T71eC9BtS1xuxvOsQ5B6W47+ZKEGF3slLlfhogVVKawSBA9yriqgQhay6Ji2LY2GFvogPFxK0Uzroy/GDaVtj7D6Z+JjMiQZ5BGnT2LSM4sOugPrfhfm5/COLnGXWclbzx5C56Aio9pNAlnKcMjZEGb9mTm5NkYtw6VQwOywDA8eIwWtLS6t4WHlNGRIKyZkkL8bflKcBPx7BqvPdnX0WAXx8WPefcdWg5iDA/X9/yE/hmFK1wG/rHvIDyjse0f5U5N7XcwbyNkc89KpCqWS5DR5TgsOr743fLKXNAvGveRmh9EqIipEPm2apDUDEbCDp4kmoMHnIMA3WJdFu8i+cbP0A+h2YoXBtNYHjBbWIXy2FOFB73ApuAFjntNGHiyOVJFCfkRib9Dv4m46xrFsND2gSd28e4hjlF0lVajLnuSs8BDzwfwz80zZZg0qno2G86lMnh+KyqHkYKtXwwPnxwEvanFmQeJNlrkauV/UReCMRLT8D80YxlEyqGZqcKp3l+VWMRl1GqPMYd+4BAdXQAJXeBu7vHrVI++W/i7kCAIOCNpPF3754YGRYYAwLDMYrplDzqK6TegrgPPkDKXzpKCD6SGwbqFjMScV6leAOg5AWsjH+wFfXaEBnRO9T9ay5uClTeaKbV+uD1Mi3iaDloAfJGIbH8wD9RwRnZP0lwh9ZigS8aSZL84BxNqo9QB+yXyJvptrIrVz+amFUUUJVsVJp3j9lRp96QWOUgP7ozhsygCPjgZQaDnrsu4XWApJO1sXq6mYGND6hh323ffTpfJkapKpqbAZDM3b+SMfqPjsEGiZxFcL505N6PpsXgNSHCC5VCxRLiZ+TZn92I8GmygSKpDyGV5EVoEfVXgOV386aZcwV0NZ/CwYTwQzDynLFRzdLCvmvZorM0rP7Hu4agmigbut6kChVdgnI0FtyVvSI8v7VhgM2iCOHQt+0GIkR0krvS2DuPqFLjDOCVQOWxQKvDcxovrWQ5CaGuaXC3Ek6dXgucCoO3eT/EVuI7ISRnqAM5DD5mjsPqfJCgF+p22/t7C1EQOesgr9CGVaOpZdSlu8SZp8Vw0Dwq0tvrEPYQjKuCpv6LLu1i0r48VUvjnF8xvirPj7RjJbBnicIVDTAMdpBO9gkoQn0zR42HAiW3/7YdijGFRvQGN3JtST75UaDog26F54msd2Vtq0NUKUUJrCg/mAtMfnQpaUoiZDoP7P00gCsws5iTisrqQjrw2x1li9B5GhRLdXj/7OYF7YLKRp5U4UsKSK+nWQ5DTQQ2fhniG3JaR/0hxtnIvwOhe2n1GFB1UMizFoIprlpE6NslO8uN8EVoN7LCwqRA/SKq4+GLTs1AQuwNd67RtlQ9nqGJWLaSjT3r9JoFNN3vp4MTHWpwCuKECRvEcx+32AM/OzJp0lswf+aqhvBeg5qWs/TSMkgYh8xxuB3C+QByP0ZZivAYG8lyIw+Wjx39/oyElmYzYaLQJHzA0VlFXLGSrmZUj2HC5wARNTmAnLA9Bghwsetfypv7yuDEAoz42iuvZYyexCcpM/tEcbI+eP2FOOSDHnPtL/QV7R0jqTad+uYJiunKCgaQb9Gb3nnQ1EbiB6R4jNQnnLRN6JitFMI881zZ8cCqoJY0pGNRIguQeSV5el2wB/kFnEq+VCZig7SMe1TJ5cXUppTQyesZZCyKh/lHvT5B9PCUROV8fr9D1G3HjmTff11EFU52g0cc26i4dFgHCD/3Koho32/aNJlngXxMiLIB6V2CONPzgJB67yBKnvEQ4H6OavZH5iE6c7kbncJCfa68yor7Sn3nryosWfU6mbvvxZzILmdwft9NRS/LAWyvvlpIhCRx9rpB+g8gYwT6Zuz3ykJafW4sIJxaeCOF1PykPF5rQrGBqmLXfp80VNl6ZA/TUxdpwYDuGZbidkR5u/v3+DSahpnBxtMXgeBoQO0zDvDZ+JkHuvjlNVZ7OWPQZ8MSfs8v8WXV7WEWzrveef4LpjpgLn4pa6oHuy8DZw9SRmOFMj9ANX9pRScav7VqQ15v5xkZeA0/sUgS5uUEBx5otdTGi0w+Vv+GqwEG9k8/OVjWsV7olwS3AirroveEFBrrgMefGyPXRHhHZPEpBJp8S6B+mOZs7V+zZpfuaJ8g6jLTEk++90rHPLQODTGM+7Be8GxOk8NbAUefWW8G+7lyyA4rrAtC5bH5zM46U3uHVyEUcyHJLE5B8MXnJQwWLmpJmmFVVcjMdjpej6uejWrAG3OMPc9j9YMmB5/msCRAh3OnV0MNF+xIth86q5E/3FfMYrvmfESITaflBqbZiBRiJ6Hm9YZJetUNtXNy3BKPPFhOqzMt3js59zOSvnkeCsLMv2hJTywaf1cs7J4myTFVYrWJj9+6k/HwuOkzdqr7BocLHmyL6RfK5JoKxodaGoblEc9qD6a325EY118IeazwGLjFPuqkahw0zZJS5/reDr124fUDS4Tl/ammRQUgR1p2n8xBEeYlGGjtFhFGMrKTPXDqUPiQUO2oug4C4hHD60kjwlzVcUig8vo/4oDl9llp9CJlc+Vz78vxebPy5xyBnyEpmGZEgFF+ckiu1I8fGEkwemCYKYzXXfAxFRna7Av1iSkqNt9xk+mBaaxvAaFucswNz2LNujIj/p7n/cFHHHjAEq4G+r+/YaLPZxjtuhKup7dCbB0KtyHMZkLeEKNxS7AOUJhSfMkamFVgMfnNRoK4Ney+wkb32SmX07w39vxZJL+IkcswyXxex9+Cd9vsZstGJn5Kbn4BxrZgRabCc3hX9RsRU8pBOyJ3hGtGA3wK0QD1kbxUCAqB5kD/wo35JRVqtp/ThIgTGbyjQAPSyUoTwBUL3BDbprBB9cQnPQAIGiT8JZJBUvpF3vaq5cJFtgT0ZtJng+BAQeIjtXY0pLwBz+LEUHDjFWhH1vWyc9IlZjdNi00evjfpHoDhhAWB4QjKNN/iDdgM4Jh7Uh/OYfnDWRanbf6/+Bh/eGk5FjZO4vEVBiFpyL9PdYuWhZaquEybMY1rLjd19pf0YqXL1roS/1L03WSqraZpVH114nqRyqwipwTq4fJiuRXlbYV0nFb1Vp3UOUj+i4OGbM4ku+2dFauY3Pfiy0gyiTMjBR+KebkSlhoUGSz6LIrsmm2WjEZ04FN4PTOuXt2DYZcb50suxKqRAWMtZ32A7qm9O+J6HqiGByP3AkXO2xDfibQgD0h4L/1Jpo2sWQY4rTN4MXHrKUZI/GzQ4eWmXA8CQ5XmD6MZqzz0bM4X/O2CL7w1zn0Wvmflrzv4I2mAE5Cecez7icYtCRr1rzn5JgzHvNBgHFVYVLixwuphVRqhc61LToiGRwGiLiUumhWqrR+yXmRzjqjq3O8FjUElfybFx+DB5ZSdfZe5Zdka05NxZTHt1oYXZHBhFnwLQZv12BS8x6lYmNBGF/Q/SJyqBItWOSE0wwSUVZIOou1M5Qt/gYeLjtkOaZ+yhcYgMxFtuNuRlejgGquf3F5k9Fu0M/mqD6k6ZHTQcbNWwF2Rn/NrvVedRYCT+6VPmYesCEQkHHVImTG34t9oqyCN5ln3qJVY6VwiqkF/vCL0ZGgxSVc2Z4FYOLST7Gp/ToDVwAT6+K5h1raaFNrhk3q/tymgAfvQAi/95hQXGiqA8VyZ8uNSQgtiYdAuYrZa4ePNHtxMNj8fltI/cOccF7Xd/HPXEKT6352AgCYZ2c4sIWWog/rT+D4Er8UPs/5bjNkFXIbqFrOSXKyiBUXZjuRmGfJKviWHL5mZNRDzB7HMsHQr22YufPBz2t/4h5xrkLFnaglqIeLD/t+oUgZZQc4aAZFl41ZgfJznUJy8UJXux0hMwzQRJhG+rL7XiYQw3iyINS4TxFgn8xohDs8j0D+f4bSSyjMk09pt/gr8PUbI6GCvPMs3hKxsNy8HUXG4U8jV8k3jtBsBYdvS5z/CCr1ll/F0uoVcUh9ld4Yg0p63jgXd+YRIJ80itd+XADgxNWFihDbk3BKQ+8swTlcM6U1f9499rxNkOJBfeRUqvKtP/dQfMWGZAnGxG8HewsgfCs7A+xUvD8MAUUo97zlB9uBSpsP3rwsf4p5DEhe7atfG0oqPNgInT8wXYAyVnMstX9iW1Rg6CFV15PDifwUa2lL4V2WzU2Wmnl5/S1BPgmSzi7SG1fS20rOTjTbXlH7zKbeepPCi6mKajV7bcLp76STmo8YfTdkEAuT1vZLpOcAC0T8n8Y1SzonuK6156Tl/qrUKPr+F9jBA3GgTUVLCaKsDtr9fkVLYKt9UbCN1ATukiHkkZM0Kv96FX8YlNfxKfqrELrPHhmjBuIoTBHzhA4rVlGKkw24VBP+6jPzSIGS3UQdbwNj8mr0DjK0YDU9dTt2abJD3gxNhl+MCBluk0sQlnXg2UchHNRhRFgqDU+7ND5oT89ZDvYIsauYfjSFN19XARYoFhRWcZscebdPLEl2iLxzf9AwF4kpGmyQWozFgWNsfYW/KXgrNTnTF+bGC6JYMAcTOL3lyJdlheH0JY4oMsRXCNPm6xxReqjL57qPdYHU3l0J7BUKq5R+VOpH9uzTYxceSkEl0/gjJ0v1HpzYhbuNexDO+J53wBAfPS0JAnmDwU0iCbw/RPeWfAEbkKBeJj33DwaKbt0l+mbk21wzqov6crgnlzLJt/HxgaIRSuWSvKAD3ynWAcJhZFLrRA2BD+ijwfv87e7TOaA9mNBIMn4PTJSTaBYxd+cclKZLUYEIE331VZ9YROBLpOFwL+aebLdszVB7/cExQbR2Bxqe58KGxE9FrWCf+0TZvItUeOdBtyxaqXHbU421r+bi4gk3ZFv2/wCnU+sHLJSaYHqap6Hkiuh7kLImCO89H/kJCig05dVgazeDD2rmpcbWT8Gk0y0800jRkhk4jquOcpqpPVxcCaTMH2laL3E1JJ7KmWaK0tkxB0i+quvdPSMnBvx60RTTDkpFj/d55zvUJQrnD0Ej0Cpumu2fJcH2r/8iWZ8HHHBk21dXLgDun0z6Hr3EDY4mj44o4pDPmvZS8Z9RMRC/O+Z/cPsR4h5Wf0oeWO+NbvHQ4hT4zgduFQ1M2GO+RJaBqyrA6x6dY710VP7HIxw9WTdYNpUQ5bPi49xXPa9N7FaL3EoN8VfVjKHfVmv1Ym3qQ79eK6fch3xsl2/VtIuHw455V4blvhzMLLOcaF4asLWj8zakOpNybrFT0YRLMPloIkyZlzqOoMeyBxojqk2ThaSNNwkqzhCxDm0VAywM5vokSZazVEJ4faAw/rFF+VN6/+eJZDepq0NtRXjXHbNnZxzkQm0PqF6brkfa2IOryN85/a53h39rwUakZZLqBAYJHFdWXHeYI0xeGzF5isWHhD98PaV1nAMnAE/WvNVOI9uT5JW3JwpO0Mw/rQtot6hOFdtKFmvU1cxUVLfxC35+EQljjbK3ezEzylEDpa8hL9sCwNppNQgtR8jEOcBAzGsrAU45uJ/goyhdyTFhD8EY/X7DehrJ9CyAysL7HvtpswAVMBXXudCcHudwJ8vWBXpRxxEKQBdl+Vb3OEBr27bL75GIWSBn8Bf5w7NWHcU1FT5t45TotK3iF1Y9GGiGL8MCQZ5tnzt/tYVAUYa4dLPcyo9EgQRggls9aPg0LQcOp6GeWbQ8RP0dcJqptrhl1ZRDMdVx0dpgvoyeiDZVI6v5LAG4N7KWo71wpJ3hJtULyXCHUu9bM7QeS0zaOi5h3OlJ4n+oW9cbNTO+ZpiQ639gGZ206vQRG00yGLEtaoZltKUZ/U/YFUNoWHfJuiOPKDdEWdjnGUPFSH8cpz7u1ncltZ5Cd6yJjQkjo5/HYEf1jlelCVwTjNXRyuBMXXXVv0KHG1pfq+L4Gf6SwNYEtIA50zX6p8zsMAlX1FU66RTCl7yppGESBXL9Fxr7XTR1dNfyRsRKddkzLj9a6RHPZFwVr8y9BeE9O93FOo/5fnjHdJKaIE4sE0fOiqr9JFWZtFzxWEtmd5+8IH5bcm2YRsooCNB/u7v6FeEJVGPrYGN4mg1zaEgizVmzF/KbhEPXJflSDvhXEciyJJY3GcgjyUPpsqFpqs75eRd0U8uNomTs7vTRUKPUjO3XmpCd60K99ADltutS6hjL8wR15UidpUr4/FOi2MU+2hmqLPIn7H6zBPn3379hXRZjVLr6iQf6nciffsmmVwG0y0T4zDS910nseAzBWvDmJHtZwRCcuOPpVR2ENbkOzR04NY9+mGbkOz7ywrwCERv2bVbWy8zrfqi5dcBF+tBc0VngWOVdBGnNHBCZpMqEe4hjafz4XSXW97owylM+7k6A0huRTIuO2ulNkZRDDlteijYVolgjlrphEJqNi56En+ObW60N0rtWV1OdkMRQ8mdnvQ0wBYow0osfrNIWdoKqo1yHF6Jd6Oz/lNPEwp0AJXmNNEe0rBUnUEBHMOdRLvR6wswPj7MAx+OwefEcSyYcpwzxYx62FydF0skuvqDO2JqR2zgXwREWXTg3F5ARPpDprJLyB/ybLyOaAK8x0sVczg3tArXZ9cMSsk+oQim6jkzYMOASf6EZUpwaKBa8m4UoVmbp05071eEs6sqlzY+kD/DFVcAdscklHXgRuoAP4MJkN6G+OEy6ri1ofn7LAQwrXlYpM8Aan8+GB4lT0/SKyL38kF7DVare9oVSYRy+xxB7wIJ+/N+14mG/YLeUY9lzHLguCjUM/zeePD4UO35sumFlf7aSkSyPqXQ/xmsHrZKsDZN9pX2F06s7mnn1Z8kD6cGF9/Nw1bZlYHCwNlFdBcp/LZjzyDK0ZBIvtJzLZ7X3ZnH+OzG6Il7lFc6/fHR4SiDthaSVovb0f2yi6Qa/VJJvamCYROsh8mIFhOG1CSA24p8IVYB8UNQNsvxgnpiFNi4p1IKTKQ12NBMqqFy4V57rUxBEeni2IOoiboVQEiNHZnJYopsVZ8EhNogQus6FVXdbON6sFFeUlHPAEBBsl3yrW60lebNBxn2f+MrI2Q51QsoxjuAyVPVWVIZ//+Ca1m5uz5Qr5R148oc9akwUISVeayj4mq9M8wEpL97yVrjrpvkP7vasym8SqjHNUjCRq08oBT4Th3n13tDJxdoDW+HpRRzqc0QMfVDVoYHp5DxfecTLcE5EUSxNrnzw+4VGzqXkkhbqJN9qLHvgAsrEUdzcNSCRG/Lgy8OpBbt+2/3PV9U94BMPtRKvppg8K9v1f+ZQbn2ukq1LlTy3aEEFyWFbV7x/jfP50OmGGcMPp3v/hlaTFvTMQedFDEee+RiIsMx1sQWe/gBMEUv9KYV+x3voOEQgmUHiv4x8MOovP3YxepveV1iciQ6ILbr3JGZM1ASIpu9Xss5tqBmgqzbSrA1qcE4f9XMLK/wKigdlMXeMDT5EesRB+nxUTHjPs4NILK9SMs6mNDEaQLqT/JzPs46K0AEXzAVZfZBCJ0LrakSWy2bc8NvNnDD+MgzOuNCo1b84ZKlgPgHJ8/PYDkt8U07UoNpJcJC/ozLJ/XXVnZdme2ANyGVKk5mWmxnmGB2FmFHWrgAK1x7x9PEpZAFU+EkP+TxkNcNaUnscAAvrMSkntIm6tPpNqbaAILxZ3BBYD6habGHaqrUcD9d/1SjuSJJs1NRpv1yvhHN42vZfv+cKeYFeTEyvBgU5P9KSf5EHYvVmhpx7IHnHtP5cJAsELJO+pSTKYWZoxtj6VTZE6dzsfNmIGFPSH1tBmR+Li1hl6PrNLPXGmSXBalkKrUG80G5/R0zHjWsZ4RCtS67k3PhjXCoDk1/Hru6u7FO+fddp1+pQAOLRgUxyenu0hdCf+tZIQib8RPeUOoN6z87dpGMe1To1+Wm7TGXcTZ6DMKxVlW5hXasSLp2qRgSFCzK+635mDbYCRVTb7Bs1oa9c5PZv8+OoIwf11ziqxSp5Ye2TauIR6rDqKNCrSVGL2YBo87ohPrfpF8E7v8lG5zJVEIbyH8ZFCu3da1LthIf6M9nvnbFH3zxGBC65psIv3izulGG0lU9yX8c7NglK5mofhS3ZAdsI/+VQTv+CMxBjQHcqSvhlFgfaTHxkXUT5gSYitUSfJSl+geQURACrBWEA+LRTBE7D3FwHpOB1GalYQZwEmUhHjw59Oj0ENO3Twhkieetu3zcZOq9bueCTKwHwZjRrSnHK2gmo8KPf1UVIKbsOzFxdlXb+A8UnAUmsvSyRPIcRyy1Kaj9FOlSM1nNQRY8QATYuoF8XUX3UA6q8uXsJEQwUxx4ULRAtwR6EalYQPuLh6HRdsJLi/KmCkin+69iQ5thXQFRoKpAx12uygPjhmMMWzLKBqgPT65T1QX/XSiHdi9XxAlj6Je0xCM+GK3e3iAMbE5hKNl9S/vUPxoKtNALamYe2hHesENo3e3KwHWcaQg4SR1MNv+6Be2F8AmVm7mS4yQe4L7p9/Bt3xoSSqYI4malGdzd8rNKsFrCoYOVn4o/RLIWE7kjxncyxUKNQ33W+2xHeTmSuxD12xtbgDLCSqaej15Oov2AUyFkNKpFJjjA3wl8lPJPpLoDC0k8xU0wDimHhJSfuOH8odrriVaLoTwb99IPYC35q82xUlE8GkrgJ++sw6JTfnurQtb8ZTMAU5vIUOPuh1Wz28/X0J/edpIuPSWj72LxNwAtt/5vqKZk9ZXAsJDt6jaowbG/aWumJNLxZdgpphJpu7CmRbPSq5pvxWBnKCs+P/pkuEz8zDOiCcnaalD22N01CuoHE6t8x6LdJpwcVqhDAAblaOjP4yeX40H+tDpD4LkDItBy2PHRbNMujRNPBY6u1erqs/crGcDLRZILZgYD6rD+HOaz1du4sfw/Fq/b6dEV/sJILW5HrDWhAvRhdcElqMk2NlEZ4Ch5/gTvT+ddaQOPqhrcemGDr9+w84jcKnv9cQA2jFFrNymC1LFa7kSkYvaWlXdUVdovjU0fV1D8jP3gUseZ8rxgs63kzJMlMzJtbDMtaZQRT9KArov2f7N0c0rWXpj9K9Qui8oTc3VnKIrimCvcMwhGi/N9U0uj46aP+42di+ewV5auEjvXVPf1lwmXclOmzPHeV3gn7502Pns0DciaiRxVeKRvtF2HZeE9VpM3W3+b9iN8crVvfgj02fWXm4ww9YWnu0UzzpwILYwmojsbq2rjMXgqGjgE4AeRSSZgHQb4cd3BbXumQFiEP+Ym32g4CmSp7YwjDWdXGn0O/qeJaTF/AsFuTxlAESfUEZ6Vw4v16XNAjZdwu1mXSyWvHAP0AtrFbXAvquo+XrEBc6LjdpXveVoNevIvMmFO704dmm6fjX2l85aK05ijoezSKv7qngnB9nr1bSrbcI+zFyVH6Lng2ptLzG8/Scf5yKiGVLE+JkvIT5J3pzP7aa8SuiLSv6UTdKX61cErOFhQHj183fSQF3Bw1/DlVjmqhj3M3BSvhFRWpmlDH3/zNm71JUZ7uuyVwLOwHESGQit1chwB0786Tdre1JdFPIErS4+qc7LZsZ9dC9DVX1PBgF/TAp+dPTJYfvsUZcCCg1fzEgm7yskEw4951B1X9Ckuj5KakvzWROSyjxCsmLqgDgCCUpd9gZoEf6YYJYIkBRfcN6PPA6x0iBdZ3ehYTD6WBYQCFtVPzMLcqYEhXpZz1CjGwltO8JMjMB4lLfOdMVqlRiZOHEpR35R36jEV/WSTOFAxZnqkylow1yL9MCsRApi7AQd/yKT332cgB5qujCCu2hynhVH4gZVNdC2d8C51ju3kvJq2gyuSZtGnBsbSfj7GZ8TvzgMsexrvh4AiJOdoJ1GBGXnnoZHWhTLpslZtBfsd4ASPbeWaIo9gO7TYfkJMzuJa4uB4oZuyeDyUrXSkHgacjQcTagfp1KFcREbXnj+Y5k2YL23A8EmzaJm3L26xx9P23oDpjLjnakF+51LARhpEaoFWZly4lKtMbjVLKsr1/kju6jeBIaL5hj8A9YEofdw4psyRdXJpUpTtuv2OiZ9PFr0KwL/lQgpmLvhxHsL+CUSwuDmrLypFYBZev7piL6/rX6k1f7d0aRDlhQ8UOUu5Dd6EhpbuW7WLS+DTSVN4AOgFvG3W3i0sXbHbl/E4D2F0I8rBVD9MTHUipkC28T6vwCB3yEj9kgOyQIf4n+JwvhDhiC/IS/pDVG0oak1ssHaG8YDmyy7xq50TdwCiJO90b/6VwPuIOTjmVgkzVGV7gp7uYL+MK5N6bAhm+gwua73bzomf5IhQ9va9QfnLURaptyuXqroa98hBZoG4TssINwEtxoCUdJ7WnXP0O129ZZWFwkISMYWUz7Hz3EGLteHoI8p78LJHTmlhO0iylkRUV7WyDPiY8/bQUTmEcpoy8ogkPkA0MDPE/l0pPIiozX7qsoBgm5QeoEXcGSVpdHw/vwPN9r/Qc/TB6bohe2GSSQl8A6PwMmt+eeDVRBGa9siz96NPFHzLXS5pFH05m3EuhTpCiPQlHYXg9ac+paCBjQjtAvHDipR/WbF4k2RyC4DgH5NkzpTTuSzBIXUIpgseX0Vk6z4i0rLQztke2S17WwmJvR+w78Dcx9RNFUslBvzP2cpVE6W1oxE45Iamr9OPv2UZbpbvRxP4aWglFJLQMQvP3wxplbFbEoZ/AohDIu6UEb1w7BHNuVZ1V1F+UGMP1Dd0jDIexavhe9MCNuSBs+1J01qEhSUTLvzGDYn1rPBL3n5VJIytXLM87lg2nk2PTju9oWPg7wNWJjJrtyg1eM/+jP5egbaHpf3bKDs7iGID4jmea8JGlVWalGa+zVff+IuyeD/PQ6ryrXy6EBmRf1uII/v6i080EpFDXgrtlnv2PSSuu0dWmd2tBx9cWaaAgwM+S0R1iH+WVhd46tIe6lomHxUcTSNaLekFKWCFTo/hg/yGhFXLT/6vp0UgzV31mj1py6d1rRu1kcLSWxAutS2lpGrYSzJuzW0tAfRs38xXdjLfCsWLOCzgYxye5JfF0FAKQkWx3xGJ0M8dsPNovHy4iPCWecoNSEDUdbjK9Xs03RFUOpNZ0jV2NJqoE0fV8Dy7rwQxkKv9WeJw1Mnr2/wKUlbmowZbcwvTJUwHKXZAx/q0xaLAUq6wl9Gqd4b/dywBTOtPDZh4EvMfqjJI2mPKRmSxxLoAfwgjX7vyMxoBshD07fhEgkp/J7QPPy5Brx7JtBA63BIpF0FukTubzxJtIQA9xrq9zhPDWLFap3+vyg5gq/YqBrEP0vqEl5/qlQB82bYN0i1vWgYxxkKplf7qFjQ2NJPNJkPEQNSjaxnidzWh+0mj+fGfCRjE3/Jbvppagqy0WNJfdaSdXf393Ku3wWxJXbBZfovgM9Dj9zLykzXdKqQ1xvFDIDk7Cuy6WrDLfMRQ4StBPvSsPD6yAwZzTRijFM5guMUiVkO7RJq/VIdb4aeW5lZ0rDzqqxF+H37/pgm3uqcjbJKC/qJD7HoNGv1c+zMEO+rXTiTooGwDCsievEUrVRY9tyfCMVDOL6fcOTq8lAWnVA4T4VXbDun86Tur/pIVbP7OeohPPzLCLI642h1uH+ByEMRgEMuam1n73qpqwSozgbBc+mx+PnLdHYR/bzPQGo5KUc6hZbJibbC8mAybWdJL+3zDHDVvcTS41HoWVpq+ufX1RL4leBvXyVuy6/rX7EXVvpDaJDOOrB++NhJ3i9kcI6au6enrqQ6yEk0nPBFJ2k+mhDuDYLVLjASvuWWBfxK8cmZfG12VlMMvbqCFhf5f3BpS1dhuObZX0xMoP4Qw1zOvAmfHBkMQ5jtMojTG1rRLyEubzaD7rdzwgPpo3yp7ErVTv1ylaU6n12nLUubwZfqRrjVp3Con3tbECwwaBHszFO6j4vGZv25IL+EfZJPtKhoph1JlstnWanq0gV6a4/tyPD2DJIWOpHaoEdOTdJ+iRj+D7HPP+PE2K9qwq6o/HUhRWh1LBJ1X9IThVmwxIJjyyhBR49dVIcnTZUTpW9GmekVNCtJh6ca/FC9gKRY6G4/E1Jx1bFIL3ec7ydZv5SXFw5SQFwxkEjaAzj/MvJkuj6EJ1Bygd3qSfa3l8qWboxVmyX9d0G+KhRyX/VEZw3StGbeLsN9tURhO1cT4VN3W5OEX0LDTH//6td0NQkRHNuGv9LpTVxLAX82TGDt3v63q7Qb5eVLOoIu5QRRjDpqZUg0DlQKPPU4kCmX1gg5Ate6um6tXrXcATtaN+BJBCd7t4lqG09whNWrBxsmtN5p4RTbT+BhDhPmcPXKpilX6S++jrm2o6gnF7UeUxstTXDjKWK3Vj2p9iokggxyl5m0puFOwq9hq5UGWrrjsaRf/zjBs/aaLTNalUx2b4R84iXmxippe6fbpOnMymN/pMBcxDp34y0Nu0k61OJgzuTnsvdSflIx8M/cSeOjEFxPrRQu+sVcadeo41NTrYERdsYXb2GP6bSKSVbqm1/R+XpmgDpSqQNtb5HDzdXXIoO3WUgLpI4mcd4slRy71xgxdsgS8hgX7lXJH+EdPJ0ORYc7Rk9/f+aBc0zDckMbJtY49XOpCOWVZqMExb5SH4wd9ItQLspueqkXFK9DtnuM5l8ZiXW92QealN2Ut3NSwyTAdLW+Nq61EPE99eLabPAX6dE4cEEjCCSW5uAdbqmkDJNqsd61fzlXMpcz+HpV1mYmL3G9RNu9NvT3zU1EkONSM3ECwbhknK/NdqGgQBmg087FvQp+a4bDLGYlnArXvSaTINtEETihCgRN6zBTdcjuOQ6Gft+3ZBs0NnKip+lFUYnv6WqNoHmSD7xSwRjVWvG/TvfOjASoQmShJCg7VF/TswX7uTopT3z2ukLPEZvgt3NaUIhP+UCyMZOMvotPwmmQkviCIdznRvud8FmGzdDVLEGuuYh5dszT6FWYKg8xLAMfqHrE0VNYvDpSo0r1wSusQk0IkN9B3f34kMhvttfjrRmbmIEUOpz2PEYgjyhu9Wz7vVyA3yVBN+Rc6/9AwOv0DXJPJZhcrsCLoaMzQoqP6Dj5cqjGIdFkEjuxTiWtHwi+0F2+Sxr1v0SWj+N6lMs/ufmkm8I2E6RNbhVQNytDObjxzSkWvnOT9JW14giY0bX8gqaIi1+m3TqEKFjZEoPAw78wEARkkTATxPLYxtl/CqEN8fF1lxszGrTkpaCVhWUQWmMnX0npWjG5kqnH0Up/NCZ83ioyOV5u3NAQgK6vvLArRLEc6ANB970PG8NgPUNqr4N3V5r9U1f8T7tPnAfswce4np6necWo+S+ogTFPwA5W1J3pQW/JkfOdnMf3vvv5ZN0ZijyB6FY4eo68u9VhHLWgNKXVuUiWGIGdsF+hMXGx5sUI3kDeiehA/TRzTI/I/sDEs3TxydtuMeD5DRBsiihzPQlOgFBDW+fa8mB8lfUlExRtWLDXRfpe9MWTeTT45z8weDkzITNyQHnhi9p9M/uSvH0TW02+nsbBIRe/8kRR2xcEQK/vIb+EQIfagmvxuu8jeVEtDa3X7Afansm+iRCwQ4lvkmde184W1VHqv+i0HHiTySGDULVWdy6owpOfevmcEwIq189ufrUIIrfU1INwEAVOegJODkLB2vKXGCnfycyGLelCVsseNELLXGqKFstIJezQy7ulULg1VqfCAJeLmpDoHznL44nbD6xKNir49z+JC23hG7P0DuIWrK11D08djxP3SrtIRIAodE5KG0jpDiYMmJeKsopbObFUAMnWYGxH7SvoNWWbgtQBsFs6By1wo9MeDTEIkHzYst5kjdnj538xfuVaxI/rGBBahTFzKHH3439z7h8gxNNfaJWB6XbZOZic+qKCknuvA5aWJb+2septsBY292nPYfsgj2vxXf0Jrxgkye0F+PBE1jCZihfV7VCcgCrVTqyVROOXztod3Bhh4dU3G4HeBQ1nJGYCKBm1ywIvIedjU/jZtYlc8tkbMiVMEnXDrAYi2sAY0AD1tIfeqFYqDBzy2Mevo5VeLqCSw9nROllpdQa3hZ7GyiwhUEuhLy77NRGao3X+lWP5yBNXlOLZeFMvurS9ifDWkkIE9LPb+R9yz36jlQxKqxeLtmnF8O25THuuwtlS7sdzf/qOt6NRhEV+Ahx/nplB4cTM5UfD01hpLjaznpDT8aXcdgV7gO2c9ar4dv8hmOqPJoICKv8aXh9+/2+hDvmAiX36NoRtGTjjwRQ0xasPn9oIrZrNMWv6pjbosxgOdfQRBXJC7IUzFLIBOMeQgd9bdqk7MKS4lm1coCPXJfBCxFrM5x7nDdscCoaLWqAceQjaUU9wXZqie5ue67vAE5xf0ykDMcZogQW7GBy2gRaxaK33G3kUIuPMcPgaaOxCVf4GLYfyDvzu5n3lF8hNNBaa/b3HA/6I0DzgMZPXBkFTWphSBDW1vMopZlHLKxmzsQYwgSQoF33N/S84zL+DLCqh5JUzxk1rsL61IM5pTBN5F/+hbYTjMpN74hazm5tk9mt5gdWhb0LacO66uPKdbcQilV0eTUwefDRmSNckE0tvPxvFji8nyAGOYnLPLsWJHuQQ24PE0NUhKktNjpm9gls3s/y7HfQ9rm7Rj/CgZjJG1U+3uzkMQBwK2B+GCqf04RlpIA2dJ+Clcby6iIOKXgUseHG85O6a9DnqgWVZoEefQo8ooJuQbOqaCOtfcs/acXT8Ilqfljy7UI4QVkt7EWiWpy8u0/XBbBVAsWK1pshPkU2sASNjRWGO32tx3c8IIVXGnBJ94eg0vqlDeGhEd3maKlWDE6oo/+XQgpzNHSgoHeVzpzN3ZFfnDYQH4jNmBEQ2NDqm/RFPCrULR5Kq5fQIBM3Kkj4Yx08bIGjy1j7e4P9isrlr7dvl2xDuyklljhj6/OLU5bVwS4Q99ZTvwnAzgDL6soHc6bnuNuHuCvp3mkBkZbpdV0YkBKdIDItEK+lLfxQhCeEovX+oIz3CU+69vZ5lwgcjXItyL+5bmoUGjF4Ub/rNUXaxWE/Wh96MAEVh1z4or94HbbSwybwWDHZRRhKVFzrZq60iSLeXurnkadDjiawHkiCjWCpqSjKdjyvzGwgmBhxhxyus/7+n3dEKm79JktI6/Fgj9I4Lj00boUY5uO4NdYb+xdUGXZHiKSEOwR50BKYsTYLMo4y6PtLD30ISw9jP9qb61TiyYY/3REyxq7Hfd+brKCQmzoM8LVYGOgj1kdARUn+TQobWbBj8dBKxoPEpBnU20iKeCia76TzMd3SF4iMF8ofSEuEgUYw7yHu/XUA5S5/WHQ0/P9wyTRiEmVAbcG9c3gv1xFXzcf59fTUCMq1Rzy95MMshtG0elOYjyoYonQDIvZdMbgMQSMH8F/nnw9efciGHbh0PVTf5CG4Gq3Dsnz2Y3VgUkMCi65ZsdQNo5hiEs3I6mDxlZlawlsF5xx5ealrqji5UwEeBJOtoTR5GQJmWdPqifUat4Kh/4AtlMliFgYL0J1tGEzJTMuMQ7SfJdPEVVFZJh7BG/+TcRJiLmxAXFXl2AokUvQZUtzgH8+IMVjjxSkonjMyMyuWpdFSrBsNP9kkVHHoDruQpkiOi1YlfT/6BWDft5jUkh/Q92csQePcMLN+FICJ51a27eeErzRxpVhJeWG8QQ6t9gHvYmHsm/jSoY+RNP5JPc1Bt6HxjRho444MaMq8kNZStlK3aTCYe8DY7tbjNTEGhdzGfQbItJVB/68QO8DS/GEVjvjKuazH0x6AaL7ycbOuCUErpllKlJSq8GdHgpd5zOOTBsTJFqcuiVxDFjPnONAzk3HcG4Oxu7Xqq/bTzQX6tqQQHKxhb2yk8Pd6V3n0Qs0Z5uENclwMV3q9u2+lC9R9b2oy70HsoPq05AA+NlTQugbeKzM7eA+T1Y9NLVtf3NHInTBFspnnFNZJ+zdssUrCYqRIGY5lOItKMLJ35wzjiK3sLqrJCxlqJMixXtg+znuZJXbwytNZ73k3fMTY6bayBRumIaUsk+ZCWVngxWJbzDY9flSG3rpAUj6z4dT/w78mDe9Jw74iOnav+MrYKS2E3vNMA3b2oregtkvGJ5A5eTnyTA9BZ9Xl5bz6mGN/VkaLWYSWZL9Wo6+Mcc1ijbIkAYymMSCh0TzJL9nK4B9KcHlrOMOeTUx2jxXB6n8OP5aHISctMu1VL1ntg6qhc61pMSN0YKo+al9hMlvmxGFJxgk59Jb6kiPqtO4Ko+qqhc4GH1WU16QrBd6/TD+GiUSj67Gs1pqLJ5yJafClt/TU62a36yXxJr/VaBSgACrQNF1og1FCPJCSdl9usiVUDi0v3ksDJVGKRPqeNgi6md7Dv/QPmdJr8c4Z32oMzphLTlrZBUfA5FmmPf+TtjE3bcRGIaX3pKg9J4PcKQ0ADgXF/VKcuGTAUOd1dQg9TtdsD67OPbPJJtjjXJdP13g6KMXqkVbZgiHW0M+k7gqYKT/0UXA5wo6pN6qq71BDNvBSD5/TZ9d1uQYKKM4byjEMtJVaEy7MkAnQziSe6yhWZJDfctrZg2im1bUmglrDqNF9ZdQ6Y9d9394sV5Bk6gq9fRbcjxwZyTq3Hm74B7j/vl10oPWM8np7XRSpWhNNXJqvPrZ6+SJKpiqdJpp9i6DxY+gaAAePpXLVW9nNQlS0o/bhP08e3bMPQ1DT1GQtroMIceY7q+TZBMBrQWtTwMPjsXACBbaIpaSxqm8mdkr0mQiQrjNcxziMoJ33/cxT2U3LfS1LsjZKqjt/Krf88DgZPDQKwM+wv8tn7272AKqr581/PqurpdE8LyArg+rLkQku6RKN6ljjtPIO1bKpEDb6HDmqUV8Og47L0jMVmH41Q6aYZRnwljxU8NA89mYxoT0pp15MRrbKuDDVJrD1KDb2WYZQ1vUBWe5HzOOcps5hDja8j4cU0Z3hP8u+kJUXIb+KLg8sIVVMOZmfj7JH5t3+hlVcve4sjUHsmues9ObifSbizp092BuxGM+MorEKSQoV7/4JswltsZ4n/CtD++QflSrdRIhVHIok1K2V8GNzMyQ4jlFIkPDGAk/FCBDg0di2dqmDGvhH9P+n5vbQMebWbEjwYtwuQGQph7/PSZ1LN7ZcRgP88GmeGaY1g3X8Sp3ahdE0O0Hzza0tlDT3Wj0mvD8SSEWbnaV9v4FkN8WPP+6pXitwf24Hc7VsQVsCvnNX+NBlV1za7SJMXj1RjpOrGnzGSCE3e1FlgLBby/AxpY/QLU97wegDW+CoU01WkSq1444QoBXnfsloNPHIbFwczIg1h6ZlPzEtKfMyYZsB7boD49x1k8ILKUPCfrQnZjfy+4/lRRbpyHb35+NaBgB9F4Hg/z+E/E8Pa+IUYx0ymrx0m1B5RQvcYhG6nWvHZ27bPaVMyOFEoGB4Yhhk0vxNdV56GRPqujGaSnaGNp72SCOqnZSKgHbRVk85o3UG7uDB4c/Wtli921Y0vpJi4EsxfjJXePfct0nKnyd1RapnFDDpGtqhreA7/899QqdB/ONRfZOhb0OtUttkqyfq34EV0T6d5g5GQTiIzmeNK2ydPCNdV6tVZ8qKyjqyQtBqt2vPmNCvlTvyMwBAwtxGKq9pK3qNp/vjIUoNyBkxVYofnK/RuRposDMnl4gOqYuq2uNXO+eDbczhSlA+VOkwPO+wwxVHZDVODtzSfAjRQjS+H+aQ/9WVIRghctA/Sxue7HTqfl/BziKAqAVIVQJw5LcDDOrdwRPH5zyQ/yb7YrlfTT7IFIJO8NVe5G+zDxCJ+csC/FvF9CkAbfHOk1fuyHjzflNwH0g3LeEftINloDVCn4ymJajfQD2GbhghzhTHyjlkOhT+5GwmCVCNRcU16Aqh9Sgz9cGTCVNWfxuhQ1v9eljZ+jlOQrtkc8Ijw0NZeDEY+9Ue+Kg7dNejEAllgUHslqy3tmWkUqSxzXN59/kslesl1NakOnbU/Gt0Fr8VXGIBGUoO7m4sCwXRTJ5nKSo0PrFx2iPkNoAz47c6h+N5wzndhdsuGsb+/vzDZT7JlimRH6VnBLzoKENK5bLeMG2j7if7ohosF0e3xrK/WXvLZzznFQYyr1+ncXGn4Q6lmernsGhaPmSVy+NGMah3l27CioBtB2ttKwIXDLs7/VUlO5giWnICPOW/SEvXnbL0U8Zv8aUkvH6n+ksmkriqhGDvQ5cSOaiMILJgCr9bRbd0GRRv8geGV5DnZ/henHqj4M+5y5F/0aIbVH8w3oLUBmLR7J+JTWgmmy73Jz98CdU5ci1bl08VR+1MbxyLGgpmlaydsBdxrycpmLM6kHE3bicIJYAYSvxgev7W6BD7hb8HQMY2hq3gbrSKR3dwk1a+0uBAJpY03PkyTRK+kmkArnt/bFv/IxL0eue4Pd8SVa93YyBwa8jEcRVHxBY/wmakNh9XeLtQ8O3gmwgBLTiaogMDZL6+TI48XSQkCUdUPU1nxY9bUOTWOz0fKylGIQWWsmHDiUeQDnWBexcJGpn40SKOCN3WKNCL/1050PqJClHkHiOzxrKO6MVuH3y4B7fyKsuHnnSjl1HAv2FHVP/PTYgme6y6vUkLIESJfa8vXL3RnwiEbsvI2lvE8inNWnoneLjeUJSmsG2C4RvvwKU9rfTQ/8d/M7iRxhVGdponx+yl9dShS2zD+7NHhPMFwodSrh5uA23MufboBQAvNIQNXciUijL69UFuiAXgAybKjilgzn1T/cQaasK64qd1NX1ozqqGER+AdBUbyuzQODRzEJEKnOaxBxcbjmtp1ttYwvTfJrqxW5pTl6d3+7uUhX+Q8vZ30xmRav1Co/HdsK8uNe1WaIq1BgYgA/GXvH7Elzx6RG6kMX5QxjOAaCPjyRSa+tWTgnw6Cfg0OY6Ey137jtpwYBFv6wiy++znPkizP9b4GhqhNq4TYUCME53CfsKWA/UfOwg7uxhShcWPUOCh4x0Y6QzDvKMb9nuelbfI6/YWaK8LW40qUjTGi9rj4AROnENwYEHptwfpueHn3yaGhAl69E7ChXypCbJpDaE5FdDK1Csxb70MkzHXWE2wxbjk/a3yXvGvyL1TkCXu/pfK5Bz1HXz7/Y3ggrzGihZ0hc3C8+YyN8rOHDobPWPzgDvt9vbQ57/Zah9cQ1cyBnpfGHakzs3L7vBhl6okLz3X3SbTcxsZzY96C7AtmLlJvjzLWwpNw23o0HmWhAbZ7kn+pYPa4vOjEtHnC09f1ssuaaisZDV9p/EIz8r7J4g/uogrFaYMHwc9mQN7JDCl1d0jICWWKvgpEqzkO9HV3jwKB8Nyp5Ci2PH9eANMrGNsXMpG8OXzeRo171XufactocrCkXC0PMvb393CCanffZvnXsJ7Aiw8g3Ou6AINg7+ZOSWXspPFJM9CuVkIdFb+lritZt+XQ1fkoY3M1qKGOfJtfQdqBCP2Hbpu4kPpKvk7/N2JtevfzaKPxdc3WIGZ9yH1ovXskKzsmJmynE4X78aASWS3Vzlysf5a63F6AegRtLMBXQ6M8oN1798f2KNA/h7pYDLSisg/sxk25z/aAHSUM8aZWVAqrgfgfrygmso6Sm4akRN70BfQ5KsmG074nKzDJUgBKs8HiOCj/fAsYBp0caOCt3Dcm2nyTkd3mVRS6ctZck2n6dIjhT/Fi9jH0egmngpj9hketh+bg3te3HX2+ETTCGEc8+yYSo1IWa95+itZv1AjJ9ktDi4NCxEcBm6EPaibEkHIwWGnfh1wHUcgIZYSF+9ttncMtw3+oCygrTeditJp2dkgf7HkA5oxw2V1fdIBvhsoVZeTc+dU1B444pf2mAL+H/SZkzHCNuNAWG9TdkpjUg016dLxav3kDMO47gCCnDbNzWWh9qfKN/bkMKX1veJD+31nNrkOsy/gbCPRK18mgjH5ghu66AZzm526rRxQiIo871bsnqptIELALFNALoclUDalMP1BNoA9c/sYuB81lbR3Xj9rISnFscr4nKgpKOZhOvFe+AcTyRZdjELKqZw01/9Ft609CSBAZhvRR5UiEZntovUsbPwBjviLNDQHbI5MfI6zb9by7Isrps7+iSmMMyKVpqazRaHIuEyetzQVbCpbwQFzvlaIYxAWo9RcSXbekPCbTr+XUwH2Ac37hcO88aKhIH3Btg94aDAC3O0KjCkMygKE9LIqZXCYOgnecZcTT1qNv2HqpTXQ7KdgpfFbkJe4w1JnCNKTEUvUpl75Zqldut6Sy5er08EVnm+crAT5hX/YB06GpUkzbmbUJRP66hdXHpKmoGPFDYGQlGgOgKTvMSPpF3FcyqCvyMZtKNJyN0B8imqFW6N915BiLbBbPf1+VxzV/zlZdlJ6Y5z3gukbRMISyKxPFkzFkP+JwHwpy5flo02FbAvrODT3kwOTUGtAma4ReMniP/Py917HbcRCYm+W3l/CsC5LGVu0h/EQlN5fDBPbYwN6Rpv4MbdAvWYTG4S8yiYUvlmaPHwtuBCgno6bhaxWJp8ocsAOh5VfiILkTD1ZzLzPWjZMLy0sx5eiYI/xyDqLeKq8IgynmC6pjKXrT2wICSVNvUCyIyxCR6UuO/NO9WrbBC1VNpAbQ0HE1q7v/SHHykfE/p7TU3W5Ojvombg8qSMeOjJ0eADKP5a7utt4X3MdNGtZ4Xhqetn5uJMI1jLohsjY5gWY0sw/S8I4gvHW7VYmtoE1CfHtycgyruMYV3I1huJaFxHpie0kU/IiumdlnNma1FapC9YU2UWqZRk7BKsQ7jtp7wnDjcg7gYNrh4ei1s/KKVbbMHjak3ckbY63wU1/DF59l8scMiBmiC3aYdVJtd5k6BPk4pHjEHH0sqSFY9xAxjxohVtfEPadjFAZYwoZkZ/arS8l78oYXgljiRDN4iMgASj1cXjT/NOKcKoSuuAqbGGfmdF/JnwSsLCJ7swGl/Rabb9/eXdxTXJk27vDiVyi5O+NjM9lhfzmKubpK5KdG3AGCwR64rygeNJEwyPbiaX5u6MTg+6Uf06WORXy+o+3iFjYAgqr3OBGQ5J8y5LEtWdM9IX4xj8qJ+6Ljj5ZFdF5YgyYTeeLGrQ+KqRFcPkRqVl1wavnG1diyg1TfTPtCFFmNKwaQs/PGweR+VdABOwvT/kKIMfhJr8yUgciCqpF73veQL95lGlG6q/4sc2eaojB7edWvI8On3AVdgFUN5g011PUb7qOjiMfqNSqhsmCcRuWQ8ZFjbB/Xh9YpmPXgSPiZHBBFDbeGpNvJbr9pNBqaf8m61aLGCrzTkgbI4N6PFZ3E10Uaj2qpOXI2cdZe4tf44XYBhL13Bob00HHvgvQu3ugh98yQtnfXh16N5B/ufr9itJYg3f7/ZBzGZ/xs4Mx7K0kpeMz0cntCwKQ7N1ARIynqO08vfyEYAW1dzSK5s1/DXkh28qDheWszQ/x+BfWZdj2OnqQfikth0ZsafkZWtmrCq0a6LllGM/LlJ15YkpTD1SVDbXW/LNlEnSkN2o27Kpa6DxWbViO7R7xsWLucr6YBvokdVBj0eJFEy4ptqQttddTpWaZmJ+ZjGSbuR1lVZG5PGPPZy7fOl9RmK8IU05Tsu1dQJ308DVmWV5HOUjBkmeGAFs28vIbGry165Xe3DCSLKla7yEBpGu2K934W/ZZaxL4WSpMdr//Nrf3ime7QL7JLXupeAvGQfu8TtDnNHc01WzcsYCvdDCUQFX5WxEdKIk89RJbXTX1AO7dpMV6zBx8z7gCyssnPFOxQqEtKIXiOb8NcT+27Gcf9tcL15YIactsK+RGZj5TFds7un5u9Jc6EOoZYtsZ+2ximiJt17mIwOJlpG6dr0yRFdlLPILNAJwneiPTR5yzBYSFJEd2sPFTxDXzKgcdvKtgPQ1Q/ehMjHtMzI0LlR6HO275DxBmSCPTcTHUOG/m6yY3M9NoCxmpyhyxB6gpPg0l6hY8Ao33IV92+5+llBdaEjls++82gAX9+m88TqDFWDtINk3JggOUwx/KPxSMX/HNcWGFa9lv3GV3IjjrcOO0QO60flfT8IH4I8UX0cSpiko/32dgUNKVTf6BKvUpU2C+z3SGnIph8sfXUdoBlxiOhFh7/KQjn+L8JJ6s861Tl2jAH4vmVb4QRPfq0ncByFS0YZmfEZnzUjbl6cS/z/4UfHqX69I2+AdcXOvR7uqJep0JT75cALSbmtDtDNUULwYC6O8yvxY+5ZAfsOvmPiTRZ+OCwpj9pHSANX7Kgok2qLYvleCPRSExxZGtk9rjTaCgnhF3T0rUCzjRj0Zumn69h67VROHyeEo/V/RxVe2qpXmC8B+ctndUyhc9qx2pHtg6x0eNSuUvwmlWP2+rmbGlz1oZHDgjZpsrQLVdV7NYHO1RU40NOOmGc3H92NWP4Iv0er45lePKuxmVMdPcBsVgOeUQkHH7E+jFexjxESBEUNwCSQywpauRgJNyhc738CwbtUPgWr+B7dNBRyHimKUqQTmQmyeppIVqmAyy6UCgfDyvy7E3znU+nHsMjg+5PH5M5yvYuEATSWa5gce5OMC9Xs/LmkDCyU9hIFBARXkx8/yBjTy9A1KJzbcSNM/bJvveO7ubSVQGW5XABuAONnaflJ7dA/g90aIqgX7AWVix10SSxzGx6pfZpA3M0/jhUvre0Qwggp8A+gD7sZHl7gPVZHInUJaK0VYqO3v4s8TL21S1ORKowVxSxUMC+lK1BfmKsyEhZEl119IsJZtltkOp5oWMsTKBdFblvANvYr3A7XY10XezUeUNy/VRS/HWpTPAYkOKnvawxln4ySG3IAlF9QQBblW7Na8VE+9+0qGjK/9KRuz+u/q1R75PUElVty8538wH77sKce+FVJOU8ekS7OZZU9lht4giiFTkdNOrER+JUBSDFbly2dUycWv2KFF4VwjG0Di4mnifxYBw9tooxV/uAVAI+8uO34D+yLb8PNkRY8qSbrglg58xRicLR2RaTu1n8w5jU4822hai8QMd86jH6eN6OvOmAY0eMQ7jh1jIC9ieezbHasOPLUdRlC3X2z6b80cnesT3MAkswSgOaRjGcTPiHk/nFm5Jh8hVEtery+Vhafh/V1QhGdwCr9jSnj4lPTpWk/vpyUoCiZxALG4S8tgh5GujRFtoLhTJdNz0HmSJEHQ0aDm83bA1GJAokwTHM8qom7Cuh+jQI4QFPF6ey2GrkLm9A9f/wMKxexAq7G77R2rW+ix5CUamECmsm8+0h++QwG5YKbKcjfQD962oram33erp9P9tatKdqOWYcbUhTTFmTivgUZAMVqhpGOGhZczk9vyB+vG4DZbvRf0hmt8ulIYuMqBe7sDG8PgCdUL7TDTIFxv7pmwO5+OsJWAzlNoIYEpAe1GQ9pPOBF3MjELkmBHUmegbGTt5oUQ9H9iyICZPocnat80wWOUi4ABP8BejbIG2O7FBLwL2Ke3R1EP8jw7e+UdokQVERpTWV5Ud+fWT9l4awDK2xe619ryh6RqZLVVD1mb+RdfBJKltB6tf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 xmlns="f252f0d0-fd33-4d0c-9344-d2a950077a40" xsi:nil="true"/>
    <MigrationWizIdPermissionLevels xmlns="f252f0d0-fd33-4d0c-9344-d2a950077a40" xsi:nil="true"/>
    <MigrationWizIdDocumentLibraryPermissions xmlns="f252f0d0-fd33-4d0c-9344-d2a950077a40" xsi:nil="true"/>
    <MigrationWizIdSecurityGroups xmlns="f252f0d0-fd33-4d0c-9344-d2a950077a40" xsi:nil="true"/>
    <MigrationWizIdPermissions xmlns="f252f0d0-fd33-4d0c-9344-d2a950077a4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1DCE0D0F7A384EA39729B3C3E1E592" ma:contentTypeVersion="18" ma:contentTypeDescription="Create a new document." ma:contentTypeScope="" ma:versionID="a6a1a80cd16e7a20aa15202249067693">
  <xsd:schema xmlns:xsd="http://www.w3.org/2001/XMLSchema" xmlns:xs="http://www.w3.org/2001/XMLSchema" xmlns:p="http://schemas.microsoft.com/office/2006/metadata/properties" xmlns:ns3="f252f0d0-fd33-4d0c-9344-d2a950077a40" xmlns:ns4="d92eb20f-d023-481b-a813-16a2e3438f72" targetNamespace="http://schemas.microsoft.com/office/2006/metadata/properties" ma:root="true" ma:fieldsID="cb3e864e5d419d881ed49dd576a89680" ns3:_="" ns4:_="">
    <xsd:import namespace="f252f0d0-fd33-4d0c-9344-d2a950077a40"/>
    <xsd:import namespace="d92eb20f-d023-481b-a813-16a2e3438f72"/>
    <xsd:element name="properties">
      <xsd:complexType>
        <xsd:sequence>
          <xsd:element name="documentManagement">
            <xsd:complexType>
              <xsd:all>
                <xsd:element ref="ns3:MigrationWizId" minOccurs="0"/>
                <xsd:element ref="ns3:MigrationWizIdPermissions" minOccurs="0"/>
                <xsd:element ref="ns3:MigrationWizIdPermissionLevels" minOccurs="0"/>
                <xsd:element ref="ns3:MigrationWizIdDocumentLibraryPermissions" minOccurs="0"/>
                <xsd:element ref="ns3:MigrationWizIdSecurityGroup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52f0d0-fd33-4d0c-9344-d2a950077a40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2eb20f-d023-481b-a813-16a2e3438f7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3CAC9-946D-443F-93FD-8125348F17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938A6D-6F5A-42A5-98C0-B80A54977D40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f252f0d0-fd33-4d0c-9344-d2a950077a40"/>
    <ds:schemaRef ds:uri="d92eb20f-d023-481b-a813-16a2e3438f7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E9CBA17-54A8-400C-8413-E7985CF434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52f0d0-fd33-4d0c-9344-d2a950077a40"/>
    <ds:schemaRef ds:uri="d92eb20f-d023-481b-a813-16a2e3438f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139</TotalTime>
  <Words>44</Words>
  <Application>Microsoft Office PowerPoint</Application>
  <PresentationFormat>On-screen Show (4:3)</PresentationFormat>
  <Paragraphs>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Century Gothic</vt:lpstr>
      <vt:lpstr>Clarity</vt:lpstr>
      <vt:lpstr>Tablet Shipments Rebound</vt:lpstr>
    </vt:vector>
  </TitlesOfParts>
  <Company>Mekko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avid Goldstein</cp:lastModifiedBy>
  <cp:revision>216</cp:revision>
  <cp:lastPrinted>2018-12-11T20:03:10Z</cp:lastPrinted>
  <dcterms:created xsi:type="dcterms:W3CDTF">2014-11-08T22:34:19Z</dcterms:created>
  <dcterms:modified xsi:type="dcterms:W3CDTF">2021-04-27T21:0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1DCE0D0F7A384EA39729B3C3E1E592</vt:lpwstr>
  </property>
</Properties>
</file>